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6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6789" r:id="rId1"/>
    <p:sldMasterId id="2147486790" r:id="rId2"/>
    <p:sldMasterId id="2147486816" r:id="rId3"/>
    <p:sldMasterId id="2147486830" r:id="rId4"/>
    <p:sldMasterId id="2147486842" r:id="rId5"/>
    <p:sldMasterId id="2147486854" r:id="rId6"/>
    <p:sldMasterId id="2147486866" r:id="rId7"/>
  </p:sldMasterIdLst>
  <p:notesMasterIdLst>
    <p:notesMasterId r:id="rId22"/>
  </p:notesMasterIdLst>
  <p:handoutMasterIdLst>
    <p:handoutMasterId r:id="rId23"/>
  </p:handoutMasterIdLst>
  <p:sldIdLst>
    <p:sldId id="2713" r:id="rId8"/>
    <p:sldId id="2684" r:id="rId9"/>
    <p:sldId id="2685" r:id="rId10"/>
    <p:sldId id="2686" r:id="rId11"/>
    <p:sldId id="2687" r:id="rId12"/>
    <p:sldId id="2688" r:id="rId13"/>
    <p:sldId id="2689" r:id="rId14"/>
    <p:sldId id="2690" r:id="rId15"/>
    <p:sldId id="2691" r:id="rId16"/>
    <p:sldId id="2714" r:id="rId17"/>
    <p:sldId id="2700" r:id="rId18"/>
    <p:sldId id="2701" r:id="rId19"/>
    <p:sldId id="2702" r:id="rId20"/>
    <p:sldId id="2683" r:id="rId21"/>
  </p:sldIdLst>
  <p:sldSz cx="11522075" cy="6480175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100" b="1" kern="1200">
        <a:solidFill>
          <a:srgbClr val="006600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42">
          <p15:clr>
            <a:srgbClr val="A4A3A4"/>
          </p15:clr>
        </p15:guide>
        <p15:guide id="2" pos="36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Леонид Попов" initials="" lastIdx="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browse/>
    <p:sldAll/>
    <p:penClr>
      <a:schemeClr val="tx1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9E383"/>
    <a:srgbClr val="BA3A3B"/>
    <a:srgbClr val="FC6E51"/>
    <a:srgbClr val="FF9B08"/>
    <a:srgbClr val="FFC000"/>
    <a:srgbClr val="FF9933"/>
    <a:srgbClr val="F6EF5E"/>
    <a:srgbClr val="0066FF"/>
    <a:srgbClr val="FF3300"/>
    <a:srgbClr val="FFFFD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FDA48A03-3131-4F2F-A306-07301C63E802}" v="297" dt="2020-10-25T17:48:30.429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87" autoAdjust="0"/>
    <p:restoredTop sz="59932" autoAdjust="0"/>
  </p:normalViewPr>
  <p:slideViewPr>
    <p:cSldViewPr>
      <p:cViewPr varScale="1">
        <p:scale>
          <a:sx n="78" d="100"/>
          <a:sy n="78" d="100"/>
        </p:scale>
        <p:origin x="2536" y="176"/>
      </p:cViewPr>
      <p:guideLst>
        <p:guide orient="horz" pos="2042"/>
        <p:guide pos="36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50" d="100"/>
        <a:sy n="150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4002" y="114"/>
      </p:cViewPr>
      <p:guideLst>
        <p:guide orient="horz" pos="3128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microsoft.com/office/2016/11/relationships/changesInfo" Target="changesInfos/changesInfo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Леонид Попов" userId="cc02b5965c9bae3b" providerId="LiveId" clId="{FDA48A03-3131-4F2F-A306-07301C63E802}"/>
    <pc:docChg chg="undo custSel addSld delSld modSld sldOrd">
      <pc:chgData name="Леонид Попов" userId="cc02b5965c9bae3b" providerId="LiveId" clId="{FDA48A03-3131-4F2F-A306-07301C63E802}" dt="2020-10-25T18:56:52.735" v="22636" actId="20577"/>
      <pc:docMkLst>
        <pc:docMk/>
      </pc:docMkLst>
      <pc:sldChg chg="modNotes">
        <pc:chgData name="Леонид Попов" userId="cc02b5965c9bae3b" providerId="LiveId" clId="{FDA48A03-3131-4F2F-A306-07301C63E802}" dt="2020-10-24T15:12:32.016" v="9479" actId="1076"/>
        <pc:sldMkLst>
          <pc:docMk/>
          <pc:sldMk cId="0" sldId="2634"/>
        </pc:sldMkLst>
      </pc:sldChg>
      <pc:sldChg chg="modSp mod modNotes modNotesTx">
        <pc:chgData name="Леонид Попов" userId="cc02b5965c9bae3b" providerId="LiveId" clId="{FDA48A03-3131-4F2F-A306-07301C63E802}" dt="2020-10-24T15:14:17.521" v="9513" actId="14100"/>
        <pc:sldMkLst>
          <pc:docMk/>
          <pc:sldMk cId="0" sldId="2662"/>
        </pc:sldMkLst>
        <pc:spChg chg="mod">
          <ac:chgData name="Леонид Попов" userId="cc02b5965c9bae3b" providerId="LiveId" clId="{FDA48A03-3131-4F2F-A306-07301C63E802}" dt="2020-10-24T11:15:51.954" v="177" actId="113"/>
          <ac:spMkLst>
            <pc:docMk/>
            <pc:sldMk cId="0" sldId="2662"/>
            <ac:spMk id="3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7:13.825" v="9564" actId="403"/>
        <pc:sldMkLst>
          <pc:docMk/>
          <pc:sldMk cId="1035472374" sldId="2663"/>
        </pc:sldMkLst>
        <pc:spChg chg="mod">
          <ac:chgData name="Леонид Попов" userId="cc02b5965c9bae3b" providerId="LiveId" clId="{FDA48A03-3131-4F2F-A306-07301C63E802}" dt="2020-10-24T11:35:16.772" v="1703" actId="20577"/>
          <ac:spMkLst>
            <pc:docMk/>
            <pc:sldMk cId="1035472374" sldId="2663"/>
            <ac:spMk id="3" creationId="{00000000-0000-0000-0000-000000000000}"/>
          </ac:spMkLst>
        </pc:spChg>
      </pc:sldChg>
      <pc:sldChg chg="addSp modSp mod ord modNotes modNotesTx">
        <pc:chgData name="Леонид Попов" userId="cc02b5965c9bae3b" providerId="LiveId" clId="{FDA48A03-3131-4F2F-A306-07301C63E802}" dt="2020-10-24T15:16:42.225" v="9558" actId="403"/>
        <pc:sldMkLst>
          <pc:docMk/>
          <pc:sldMk cId="1413424359" sldId="2665"/>
        </pc:sldMkLst>
        <pc:spChg chg="mod">
          <ac:chgData name="Леонид Попов" userId="cc02b5965c9bae3b" providerId="LiveId" clId="{FDA48A03-3131-4F2F-A306-07301C63E802}" dt="2020-10-24T13:18:19.886" v="4422" actId="113"/>
          <ac:spMkLst>
            <pc:docMk/>
            <pc:sldMk cId="1413424359" sldId="2665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8:05.590" v="6125" actId="164"/>
          <ac:spMkLst>
            <pc:docMk/>
            <pc:sldMk cId="1413424359" sldId="2665"/>
            <ac:spMk id="6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7:03.880" v="6115" actId="207"/>
          <ac:spMkLst>
            <pc:docMk/>
            <pc:sldMk cId="1413424359" sldId="2665"/>
            <ac:spMk id="32" creationId="{00000000-0000-0000-0000-000000000000}"/>
          </ac:spMkLst>
        </pc:spChg>
        <pc:grpChg chg="add mod">
          <ac:chgData name="Леонид Попов" userId="cc02b5965c9bae3b" providerId="LiveId" clId="{FDA48A03-3131-4F2F-A306-07301C63E802}" dt="2020-10-24T13:38:10.117" v="6129" actId="1037"/>
          <ac:grpSpMkLst>
            <pc:docMk/>
            <pc:sldMk cId="1413424359" sldId="2665"/>
            <ac:grpSpMk id="11" creationId="{993EF361-5862-4DB3-94A4-018752D86F8D}"/>
          </ac:grpSpMkLst>
        </pc:grp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8" creationId="{44B3C538-5290-466C-BA24-707F60E9A0AB}"/>
          </ac:cxnSpMkLst>
        </pc:cxnChg>
        <pc:cxnChg chg="add mod">
          <ac:chgData name="Леонид Попов" userId="cc02b5965c9bae3b" providerId="LiveId" clId="{FDA48A03-3131-4F2F-A306-07301C63E802}" dt="2020-10-24T13:38:05.590" v="6125" actId="164"/>
          <ac:cxnSpMkLst>
            <pc:docMk/>
            <pc:sldMk cId="1413424359" sldId="2665"/>
            <ac:cxnSpMk id="35" creationId="{D34AD776-1AFF-428D-BFDB-393FF7A05FE9}"/>
          </ac:cxnSpMkLst>
        </pc:cxnChg>
      </pc:sldChg>
      <pc:sldChg chg="modSp mod modNotes modNotesTx">
        <pc:chgData name="Леонид Попов" userId="cc02b5965c9bae3b" providerId="LiveId" clId="{FDA48A03-3131-4F2F-A306-07301C63E802}" dt="2020-10-24T15:17:29.734" v="9568" actId="14100"/>
        <pc:sldMkLst>
          <pc:docMk/>
          <pc:sldMk cId="1645717629" sldId="2668"/>
        </pc:sldMkLst>
        <pc:spChg chg="mod">
          <ac:chgData name="Леонид Попов" userId="cc02b5965c9bae3b" providerId="LiveId" clId="{FDA48A03-3131-4F2F-A306-07301C63E802}" dt="2020-10-24T13:20:05.428" v="4442" actId="6549"/>
          <ac:spMkLst>
            <pc:docMk/>
            <pc:sldMk cId="1645717629" sldId="2668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32:49.045" v="5593" actId="6549"/>
          <ac:spMkLst>
            <pc:docMk/>
            <pc:sldMk cId="1645717629" sldId="2668"/>
            <ac:spMk id="66" creationId="{00000000-0000-0000-0000-000000000000}"/>
          </ac:spMkLst>
        </pc:spChg>
      </pc:sldChg>
      <pc:sldChg chg="modSp mod modNotes modNotesTx">
        <pc:chgData name="Леонид Попов" userId="cc02b5965c9bae3b" providerId="LiveId" clId="{FDA48A03-3131-4F2F-A306-07301C63E802}" dt="2020-10-24T15:17:51.317" v="9576" actId="14100"/>
        <pc:sldMkLst>
          <pc:docMk/>
          <pc:sldMk cId="541607132" sldId="2669"/>
        </pc:sldMkLst>
        <pc:spChg chg="mod">
          <ac:chgData name="Леонид Попов" userId="cc02b5965c9bae3b" providerId="LiveId" clId="{FDA48A03-3131-4F2F-A306-07301C63E802}" dt="2020-10-24T13:36:06.273" v="6111" actId="113"/>
          <ac:spMkLst>
            <pc:docMk/>
            <pc:sldMk cId="541607132" sldId="2669"/>
            <ac:spMk id="3" creationId="{00000000-0000-0000-0000-000000000000}"/>
          </ac:spMkLst>
        </pc:spChg>
      </pc:sldChg>
      <pc:sldChg chg="modNotes modNotesTx">
        <pc:chgData name="Леонид Попов" userId="cc02b5965c9bae3b" providerId="LiveId" clId="{FDA48A03-3131-4F2F-A306-07301C63E802}" dt="2020-10-24T15:17:05.885" v="9563" actId="403"/>
        <pc:sldMkLst>
          <pc:docMk/>
          <pc:sldMk cId="210743404" sldId="2673"/>
        </pc:sldMkLst>
      </pc:sldChg>
      <pc:sldChg chg="addSp modSp mod modNotes modNotesTx">
        <pc:chgData name="Леонид Попов" userId="cc02b5965c9bae3b" providerId="LiveId" clId="{FDA48A03-3131-4F2F-A306-07301C63E802}" dt="2020-10-25T12:30:12.224" v="10426"/>
        <pc:sldMkLst>
          <pc:docMk/>
          <pc:sldMk cId="2094818681" sldId="2676"/>
        </pc:sldMkLst>
        <pc:spChg chg="mod">
          <ac:chgData name="Леонид Попов" userId="cc02b5965c9bae3b" providerId="LiveId" clId="{FDA48A03-3131-4F2F-A306-07301C63E802}" dt="2020-10-24T10:57:14.223" v="123" actId="20577"/>
          <ac:spMkLst>
            <pc:docMk/>
            <pc:sldMk cId="2094818681" sldId="2676"/>
            <ac:spMk id="2" creationId="{00000000-0000-0000-0000-000000000000}"/>
          </ac:spMkLst>
        </pc:spChg>
        <pc:picChg chg="add mod">
          <ac:chgData name="Леонид Попов" userId="cc02b5965c9bae3b" providerId="LiveId" clId="{FDA48A03-3131-4F2F-A306-07301C63E802}" dt="2020-10-24T14:57:39.146" v="9470" actId="14100"/>
          <ac:picMkLst>
            <pc:docMk/>
            <pc:sldMk cId="2094818681" sldId="2676"/>
            <ac:picMk id="4" creationId="{67B514D7-768C-449D-8BA8-766ECE030991}"/>
          </ac:picMkLst>
        </pc:picChg>
      </pc:sldChg>
      <pc:sldChg chg="modSp mod modNotes modNotesTx">
        <pc:chgData name="Леонид Попов" userId="cc02b5965c9bae3b" providerId="LiveId" clId="{FDA48A03-3131-4F2F-A306-07301C63E802}" dt="2020-10-24T15:16:56.035" v="9561" actId="403"/>
        <pc:sldMkLst>
          <pc:docMk/>
          <pc:sldMk cId="2290269285" sldId="2677"/>
        </pc:sldMkLst>
        <pc:spChg chg="mod">
          <ac:chgData name="Леонид Попов" userId="cc02b5965c9bae3b" providerId="LiveId" clId="{FDA48A03-3131-4F2F-A306-07301C63E802}" dt="2020-10-24T11:24:22.990" v="689" actId="113"/>
          <ac:spMkLst>
            <pc:docMk/>
            <pc:sldMk cId="2290269285" sldId="2677"/>
            <ac:spMk id="3" creationId="{00000000-0000-0000-0000-000000000000}"/>
          </ac:spMkLst>
        </pc:spChg>
      </pc:sldChg>
      <pc:sldChg chg="delSp modSp mod ord delAnim modAnim modNotes modNotesTx">
        <pc:chgData name="Леонид Попов" userId="cc02b5965c9bae3b" providerId="LiveId" clId="{FDA48A03-3131-4F2F-A306-07301C63E802}" dt="2020-10-24T15:15:20.142" v="9534" actId="1076"/>
        <pc:sldMkLst>
          <pc:docMk/>
          <pc:sldMk cId="1692574993" sldId="2681"/>
        </pc:sldMkLst>
        <pc:spChg chg="mod">
          <ac:chgData name="Леонид Попов" userId="cc02b5965c9bae3b" providerId="LiveId" clId="{FDA48A03-3131-4F2F-A306-07301C63E802}" dt="2020-10-24T13:11:57.609" v="4397" actId="113"/>
          <ac:spMkLst>
            <pc:docMk/>
            <pc:sldMk cId="1692574993" sldId="2681"/>
            <ac:spMk id="3" creationId="{00000000-0000-0000-0000-000000000000}"/>
          </ac:spMkLst>
        </pc:spChg>
        <pc:picChg chg="mod">
          <ac:chgData name="Леонид Попов" userId="cc02b5965c9bae3b" providerId="LiveId" clId="{FDA48A03-3131-4F2F-A306-07301C63E802}" dt="2020-10-24T13:15:13.025" v="4418" actId="1038"/>
          <ac:picMkLst>
            <pc:docMk/>
            <pc:sldMk cId="1692574993" sldId="2681"/>
            <ac:picMk id="2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3:15:07.792" v="4403" actId="478"/>
          <ac:picMkLst>
            <pc:docMk/>
            <pc:sldMk cId="1692574993" sldId="2681"/>
            <ac:picMk id="5" creationId="{00000000-0000-0000-0000-000000000000}"/>
          </ac:picMkLst>
        </pc:picChg>
      </pc:sldChg>
      <pc:sldChg chg="modSp mod ord modNotes">
        <pc:chgData name="Леонид Попов" userId="cc02b5965c9bae3b" providerId="LiveId" clId="{FDA48A03-3131-4F2F-A306-07301C63E802}" dt="2020-10-24T15:16:50.387" v="9560" actId="403"/>
        <pc:sldMkLst>
          <pc:docMk/>
          <pc:sldMk cId="1215263545" sldId="2686"/>
        </pc:sldMkLst>
        <pc:spChg chg="mod">
          <ac:chgData name="Леонид Попов" userId="cc02b5965c9bae3b" providerId="LiveId" clId="{FDA48A03-3131-4F2F-A306-07301C63E802}" dt="2020-10-24T13:18:11.710" v="4420" actId="113"/>
          <ac:spMkLst>
            <pc:docMk/>
            <pc:sldMk cId="1215263545" sldId="2686"/>
            <ac:spMk id="8" creationId="{00000000-0000-0000-0000-000000000000}"/>
          </ac:spMkLst>
        </pc:spChg>
      </pc:sldChg>
      <pc:sldChg chg="modSp mod ord modNotes modNotesTx">
        <pc:chgData name="Леонид Попов" userId="cc02b5965c9bae3b" providerId="LiveId" clId="{FDA48A03-3131-4F2F-A306-07301C63E802}" dt="2020-10-24T15:15:51.730" v="9545" actId="403"/>
        <pc:sldMkLst>
          <pc:docMk/>
          <pc:sldMk cId="991814917" sldId="2689"/>
        </pc:sldMkLst>
        <pc:spChg chg="mod">
          <ac:chgData name="Леонид Попов" userId="cc02b5965c9bae3b" providerId="LiveId" clId="{FDA48A03-3131-4F2F-A306-07301C63E802}" dt="2020-10-24T13:18:29.696" v="4424" actId="207"/>
          <ac:spMkLst>
            <pc:docMk/>
            <pc:sldMk cId="991814917" sldId="2689"/>
            <ac:spMk id="8" creationId="{00000000-0000-0000-0000-000000000000}"/>
          </ac:spMkLst>
        </pc:spChg>
      </pc:sldChg>
      <pc:sldChg chg="addSp delSp modSp mod modNotes modNotesTx">
        <pc:chgData name="Леонид Попов" userId="cc02b5965c9bae3b" providerId="LiveId" clId="{FDA48A03-3131-4F2F-A306-07301C63E802}" dt="2020-10-24T15:17:39.248" v="9572" actId="14100"/>
        <pc:sldMkLst>
          <pc:docMk/>
          <pc:sldMk cId="3022910651" sldId="2690"/>
        </pc:sldMkLst>
        <pc:spChg chg="mod">
          <ac:chgData name="Леонид Попов" userId="cc02b5965c9bae3b" providerId="LiveId" clId="{FDA48A03-3131-4F2F-A306-07301C63E802}" dt="2020-10-24T13:19:19.598" v="4428" actId="113"/>
          <ac:spMkLst>
            <pc:docMk/>
            <pc:sldMk cId="3022910651" sldId="2690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4T13:28:48.692" v="5016" actId="1036"/>
          <ac:spMkLst>
            <pc:docMk/>
            <pc:sldMk cId="3022910651" sldId="2690"/>
            <ac:spMk id="9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3:21:59.242" v="4469" actId="1038"/>
          <ac:spMkLst>
            <pc:docMk/>
            <pc:sldMk cId="3022910651" sldId="2690"/>
            <ac:spMk id="15" creationId="{C7940F41-F359-4D96-B2E9-ED77BCF886A0}"/>
          </ac:spMkLst>
        </pc:spChg>
        <pc:grpChg chg="mod">
          <ac:chgData name="Леонид Попов" userId="cc02b5965c9bae3b" providerId="LiveId" clId="{FDA48A03-3131-4F2F-A306-07301C63E802}" dt="2020-10-24T13:21:54.354" v="4464" actId="1038"/>
          <ac:grpSpMkLst>
            <pc:docMk/>
            <pc:sldMk cId="3022910651" sldId="2690"/>
            <ac:grpSpMk id="10" creationId="{00000000-0000-0000-0000-000000000000}"/>
          </ac:grpSpMkLst>
        </pc:grpChg>
        <pc:graphicFrameChg chg="mod">
          <ac:chgData name="Леонид Попов" userId="cc02b5965c9bae3b" providerId="LiveId" clId="{FDA48A03-3131-4F2F-A306-07301C63E802}" dt="2020-10-24T13:21:54.354" v="4464" actId="1038"/>
          <ac:graphicFrameMkLst>
            <pc:docMk/>
            <pc:sldMk cId="3022910651" sldId="2690"/>
            <ac:graphicFrameMk id="14" creationId="{00000000-0000-0000-0000-000000000000}"/>
          </ac:graphicFrameMkLst>
        </pc:graphicFrameChg>
        <pc:picChg chg="add del">
          <ac:chgData name="Леонид Попов" userId="cc02b5965c9bae3b" providerId="LiveId" clId="{FDA48A03-3131-4F2F-A306-07301C63E802}" dt="2020-10-24T13:25:02.855" v="4865" actId="478"/>
          <ac:picMkLst>
            <pc:docMk/>
            <pc:sldMk cId="3022910651" sldId="2690"/>
            <ac:picMk id="2" creationId="{216D3AF6-F983-4154-A000-07A3B8570651}"/>
          </ac:picMkLst>
        </pc:picChg>
      </pc:sldChg>
      <pc:sldChg chg="del">
        <pc:chgData name="Леонид Попов" userId="cc02b5965c9bae3b" providerId="LiveId" clId="{FDA48A03-3131-4F2F-A306-07301C63E802}" dt="2020-10-24T13:11:34.786" v="4395" actId="47"/>
        <pc:sldMkLst>
          <pc:docMk/>
          <pc:sldMk cId="3938146410" sldId="2692"/>
        </pc:sldMkLst>
      </pc:sldChg>
      <pc:sldChg chg="modSp mod ord modNotes">
        <pc:chgData name="Леонид Попов" userId="cc02b5965c9bae3b" providerId="LiveId" clId="{FDA48A03-3131-4F2F-A306-07301C63E802}" dt="2020-10-24T15:18:19.422" v="9609" actId="20577"/>
        <pc:sldMkLst>
          <pc:docMk/>
          <pc:sldMk cId="2001554719" sldId="2693"/>
        </pc:sldMkLst>
        <pc:spChg chg="mod">
          <ac:chgData name="Леонид Попов" userId="cc02b5965c9bae3b" providerId="LiveId" clId="{FDA48A03-3131-4F2F-A306-07301C63E802}" dt="2020-10-24T11:32:33.274" v="1584" actId="113"/>
          <ac:spMkLst>
            <pc:docMk/>
            <pc:sldMk cId="2001554719" sldId="2693"/>
            <ac:spMk id="13" creationId="{00000000-0000-0000-0000-000000000000}"/>
          </ac:spMkLst>
        </pc:spChg>
      </pc:sldChg>
      <pc:sldChg chg="add del">
        <pc:chgData name="Леонид Попов" userId="cc02b5965c9bae3b" providerId="LiveId" clId="{FDA48A03-3131-4F2F-A306-07301C63E802}" dt="2020-10-24T13:11:29.437" v="4394" actId="47"/>
        <pc:sldMkLst>
          <pc:docMk/>
          <pc:sldMk cId="987412111" sldId="2695"/>
        </pc:sldMkLst>
      </pc:sldChg>
      <pc:sldChg chg="del mod modShow">
        <pc:chgData name="Леонид Попов" userId="cc02b5965c9bae3b" providerId="LiveId" clId="{FDA48A03-3131-4F2F-A306-07301C63E802}" dt="2020-10-24T10:57:40.309" v="125" actId="2696"/>
        <pc:sldMkLst>
          <pc:docMk/>
          <pc:sldMk cId="2738634398" sldId="2695"/>
        </pc:sldMkLst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148891121" sldId="2697"/>
        </pc:sldMkLst>
        <pc:spChg chg="mod">
          <ac:chgData name="Леонид Попов" userId="cc02b5965c9bae3b" providerId="LiveId" clId="{FDA48A03-3131-4F2F-A306-07301C63E802}" dt="2020-10-24T13:10:29.673" v="4389" actId="207"/>
          <ac:spMkLst>
            <pc:docMk/>
            <pc:sldMk cId="2148891121" sldId="2697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40.118" v="9617" actId="1076"/>
        <pc:sldMkLst>
          <pc:docMk/>
          <pc:sldMk cId="3433940016" sldId="2697"/>
        </pc:sldMkLst>
        <pc:spChg chg="mod">
          <ac:chgData name="Леонид Попов" userId="cc02b5965c9bae3b" providerId="LiveId" clId="{FDA48A03-3131-4F2F-A306-07301C63E802}" dt="2020-10-24T13:36:11.197" v="6112" actId="113"/>
          <ac:spMkLst>
            <pc:docMk/>
            <pc:sldMk cId="3433940016" sldId="2697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273365197" sldId="2698"/>
        </pc:sldMkLst>
        <pc:spChg chg="mod">
          <ac:chgData name="Леонид Попов" userId="cc02b5965c9bae3b" providerId="LiveId" clId="{FDA48A03-3131-4F2F-A306-07301C63E802}" dt="2020-10-24T13:10:55.320" v="4391" actId="207"/>
          <ac:spMkLst>
            <pc:docMk/>
            <pc:sldMk cId="273365197" sldId="2698"/>
            <ac:spMk id="3" creationId="{00000000-0000-0000-0000-000000000000}"/>
          </ac:spMkLst>
        </pc:spChg>
      </pc:sldChg>
      <pc:sldChg chg="modSp add mod modNotes modNotesTx">
        <pc:chgData name="Леонид Попов" userId="cc02b5965c9bae3b" providerId="LiveId" clId="{FDA48A03-3131-4F2F-A306-07301C63E802}" dt="2020-10-24T15:18:50.943" v="9622" actId="14100"/>
        <pc:sldMkLst>
          <pc:docMk/>
          <pc:sldMk cId="1416072250" sldId="2698"/>
        </pc:sldMkLst>
        <pc:spChg chg="mod">
          <ac:chgData name="Леонид Попов" userId="cc02b5965c9bae3b" providerId="LiveId" clId="{FDA48A03-3131-4F2F-A306-07301C63E802}" dt="2020-10-24T13:36:28.114" v="6114" actId="113"/>
          <ac:spMkLst>
            <pc:docMk/>
            <pc:sldMk cId="1416072250" sldId="2698"/>
            <ac:spMk id="3" creationId="{00000000-0000-0000-0000-000000000000}"/>
          </ac:spMkLst>
        </pc:spChg>
      </pc:sldChg>
      <pc:sldChg chg="modSp add del mod">
        <pc:chgData name="Леонид Попов" userId="cc02b5965c9bae3b" providerId="LiveId" clId="{FDA48A03-3131-4F2F-A306-07301C63E802}" dt="2020-10-24T14:13:11.144" v="8762" actId="47"/>
        <pc:sldMkLst>
          <pc:docMk/>
          <pc:sldMk cId="405407821" sldId="2699"/>
        </pc:sldMkLst>
        <pc:spChg chg="mod">
          <ac:chgData name="Леонид Попов" userId="cc02b5965c9bae3b" providerId="LiveId" clId="{FDA48A03-3131-4F2F-A306-07301C63E802}" dt="2020-10-24T13:36:15.937" v="6113" actId="113"/>
          <ac:spMkLst>
            <pc:docMk/>
            <pc:sldMk cId="405407821" sldId="2699"/>
            <ac:spMk id="3" creationId="{00000000-0000-0000-0000-000000000000}"/>
          </ac:spMkLst>
        </pc:spChg>
      </pc:sldChg>
      <pc:sldChg chg="modSp del mod">
        <pc:chgData name="Леонид Попов" userId="cc02b5965c9bae3b" providerId="LiveId" clId="{FDA48A03-3131-4F2F-A306-07301C63E802}" dt="2020-10-24T13:11:00.448" v="4392" actId="2696"/>
        <pc:sldMkLst>
          <pc:docMk/>
          <pc:sldMk cId="3192914804" sldId="2699"/>
        </pc:sldMkLst>
        <pc:spChg chg="mod">
          <ac:chgData name="Леонид Попов" userId="cc02b5965c9bae3b" providerId="LiveId" clId="{FDA48A03-3131-4F2F-A306-07301C63E802}" dt="2020-10-24T13:10:40.934" v="4390" actId="207"/>
          <ac:spMkLst>
            <pc:docMk/>
            <pc:sldMk cId="3192914804" sldId="2699"/>
            <ac:spMk id="3" creationId="{00000000-0000-0000-0000-000000000000}"/>
          </ac:spMkLst>
        </pc:spChg>
      </pc:sldChg>
      <pc:sldChg chg="addSp modSp mod modNotesTx">
        <pc:chgData name="Леонид Попов" userId="cc02b5965c9bae3b" providerId="LiveId" clId="{FDA48A03-3131-4F2F-A306-07301C63E802}" dt="2020-10-25T17:41:22.193" v="21586" actId="1076"/>
        <pc:sldMkLst>
          <pc:docMk/>
          <pc:sldMk cId="3580722648" sldId="2701"/>
        </pc:sldMkLst>
        <pc:spChg chg="add mod">
          <ac:chgData name="Леонид Попов" userId="cc02b5965c9bae3b" providerId="LiveId" clId="{FDA48A03-3131-4F2F-A306-07301C63E802}" dt="2020-10-25T17:41:22.193" v="21586" actId="1076"/>
          <ac:spMkLst>
            <pc:docMk/>
            <pc:sldMk cId="3580722648" sldId="2701"/>
            <ac:spMk id="2" creationId="{76659AA5-706A-4F37-A8B2-77C9EC288F0D}"/>
          </ac:spMkLst>
        </pc:spChg>
        <pc:spChg chg="mod">
          <ac:chgData name="Леонид Попов" userId="cc02b5965c9bae3b" providerId="LiveId" clId="{FDA48A03-3131-4F2F-A306-07301C63E802}" dt="2020-10-24T17:03:05.415" v="9891" actId="113"/>
          <ac:spMkLst>
            <pc:docMk/>
            <pc:sldMk cId="3580722648" sldId="2701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7:31:19.365" v="20389" actId="20577"/>
        <pc:sldMkLst>
          <pc:docMk/>
          <pc:sldMk cId="3774208345" sldId="2703"/>
        </pc:sldMkLst>
        <pc:spChg chg="mod">
          <ac:chgData name="Леонид Попов" userId="cc02b5965c9bae3b" providerId="LiveId" clId="{FDA48A03-3131-4F2F-A306-07301C63E802}" dt="2020-10-25T16:02:27.290" v="15206" actId="20577"/>
          <ac:spMkLst>
            <pc:docMk/>
            <pc:sldMk cId="3774208345" sldId="2703"/>
            <ac:spMk id="3" creationId="{00000000-0000-0000-0000-000000000000}"/>
          </ac:spMkLst>
        </pc:spChg>
        <pc:spChg chg="mod">
          <ac:chgData name="Леонид Попов" userId="cc02b5965c9bae3b" providerId="LiveId" clId="{FDA48A03-3131-4F2F-A306-07301C63E802}" dt="2020-10-25T17:22:26.743" v="19512" actId="14100"/>
          <ac:spMkLst>
            <pc:docMk/>
            <pc:sldMk cId="3774208345" sldId="2703"/>
            <ac:spMk id="12" creationId="{7D7F1566-BE38-4866-8FD8-7AB737C8C783}"/>
          </ac:spMkLst>
        </pc:spChg>
        <pc:spChg chg="mod">
          <ac:chgData name="Леонид Попов" userId="cc02b5965c9bae3b" providerId="LiveId" clId="{FDA48A03-3131-4F2F-A306-07301C63E802}" dt="2020-10-25T17:23:15.422" v="19560" actId="113"/>
          <ac:spMkLst>
            <pc:docMk/>
            <pc:sldMk cId="3774208345" sldId="2703"/>
            <ac:spMk id="13" creationId="{D820ADDD-94DD-4C27-97BC-68C0BDDB8871}"/>
          </ac:spMkLst>
        </pc:spChg>
        <pc:grpChg chg="del">
          <ac:chgData name="Леонид Попов" userId="cc02b5965c9bae3b" providerId="LiveId" clId="{FDA48A03-3131-4F2F-A306-07301C63E802}" dt="2020-10-25T16:02:32.349" v="15207" actId="21"/>
          <ac:grpSpMkLst>
            <pc:docMk/>
            <pc:sldMk cId="3774208345" sldId="2703"/>
            <ac:grpSpMk id="4" creationId="{00000000-0000-0000-0000-000000000000}"/>
          </ac:grpSpMkLst>
        </pc:grpChg>
        <pc:grpChg chg="add mod">
          <ac:chgData name="Леонид Попов" userId="cc02b5965c9bae3b" providerId="LiveId" clId="{FDA48A03-3131-4F2F-A306-07301C63E802}" dt="2020-10-25T17:23:36.536" v="19563" actId="14100"/>
          <ac:grpSpMkLst>
            <pc:docMk/>
            <pc:sldMk cId="3774208345" sldId="2703"/>
            <ac:grpSpMk id="11" creationId="{E1E9B8CF-9084-4ACF-A52C-3D97A9A096F4}"/>
          </ac:grpSpMkLst>
        </pc:grpChg>
      </pc:sldChg>
      <pc:sldChg chg="modSp mod modNotesTx">
        <pc:chgData name="Леонид Попов" userId="cc02b5965c9bae3b" providerId="LiveId" clId="{FDA48A03-3131-4F2F-A306-07301C63E802}" dt="2020-10-25T18:49:10.413" v="21927" actId="20577"/>
        <pc:sldMkLst>
          <pc:docMk/>
          <pc:sldMk cId="4293897562" sldId="2704"/>
        </pc:sldMkLst>
        <pc:spChg chg="mod">
          <ac:chgData name="Леонид Попов" userId="cc02b5965c9bae3b" providerId="LiveId" clId="{FDA48A03-3131-4F2F-A306-07301C63E802}" dt="2020-10-25T18:49:10.413" v="21927" actId="20577"/>
          <ac:spMkLst>
            <pc:docMk/>
            <pc:sldMk cId="4293897562" sldId="2704"/>
            <ac:spMk id="3" creationId="{00000000-0000-0000-0000-000000000000}"/>
          </ac:spMkLst>
        </pc:spChg>
      </pc:sldChg>
      <pc:sldChg chg="modSp mod modNotesTx">
        <pc:chgData name="Леонид Попов" userId="cc02b5965c9bae3b" providerId="LiveId" clId="{FDA48A03-3131-4F2F-A306-07301C63E802}" dt="2020-10-25T17:36:38.959" v="21214" actId="20577"/>
        <pc:sldMkLst>
          <pc:docMk/>
          <pc:sldMk cId="430624130" sldId="2706"/>
        </pc:sldMkLst>
        <pc:spChg chg="mod">
          <ac:chgData name="Леонид Попов" userId="cc02b5965c9bae3b" providerId="LiveId" clId="{FDA48A03-3131-4F2F-A306-07301C63E802}" dt="2020-10-24T17:11:45.995" v="10166" actId="6549"/>
          <ac:spMkLst>
            <pc:docMk/>
            <pc:sldMk cId="430624130" sldId="2706"/>
            <ac:spMk id="3" creationId="{00000000-0000-0000-0000-000000000000}"/>
          </ac:spMkLst>
        </pc:spChg>
      </pc:sldChg>
      <pc:sldChg chg="addSp delSp modSp mod modNotesTx">
        <pc:chgData name="Леонид Попов" userId="cc02b5965c9bae3b" providerId="LiveId" clId="{FDA48A03-3131-4F2F-A306-07301C63E802}" dt="2020-10-25T18:21:15.093" v="21909" actId="20577"/>
        <pc:sldMkLst>
          <pc:docMk/>
          <pc:sldMk cId="1252469487" sldId="2707"/>
        </pc:sldMkLst>
        <pc:spChg chg="add mod">
          <ac:chgData name="Леонид Попов" userId="cc02b5965c9bae3b" providerId="LiveId" clId="{FDA48A03-3131-4F2F-A306-07301C63E802}" dt="2020-10-24T16:41:37.715" v="9644" actId="20577"/>
          <ac:spMkLst>
            <pc:docMk/>
            <pc:sldMk cId="1252469487" sldId="2707"/>
            <ac:spMk id="2" creationId="{B8A0C461-5144-44C1-8CBD-F9D16E7B7C73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2" creationId="{96717622-F413-466F-B8A3-25F05C8ED758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24" creationId="{AB6DC76A-025C-4C09-8DBA-2566533B5961}"/>
          </ac:spMkLst>
        </pc:spChg>
        <pc:spChg chg="mod">
          <ac:chgData name="Леонид Попов" userId="cc02b5965c9bae3b" providerId="LiveId" clId="{FDA48A03-3131-4F2F-A306-07301C63E802}" dt="2020-10-25T18:03:41.891" v="21762" actId="20577"/>
          <ac:spMkLst>
            <pc:docMk/>
            <pc:sldMk cId="1252469487" sldId="2707"/>
            <ac:spMk id="25" creationId="{0374BEAA-3DD1-444A-917D-3C2AB2D7A57D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26" creationId="{14613989-4458-4CF2-9C68-631027D229A2}"/>
          </ac:spMkLst>
        </pc:spChg>
        <pc:spChg chg="mod">
          <ac:chgData name="Леонид Попов" userId="cc02b5965c9bae3b" providerId="LiveId" clId="{FDA48A03-3131-4F2F-A306-07301C63E802}" dt="2020-10-25T18:04:33.723" v="21769" actId="14100"/>
          <ac:spMkLst>
            <pc:docMk/>
            <pc:sldMk cId="1252469487" sldId="2707"/>
            <ac:spMk id="28" creationId="{7410D8B0-1592-4D34-87D0-DF28C9E0D9FE}"/>
          </ac:spMkLst>
        </pc:spChg>
        <pc:spChg chg="mod">
          <ac:chgData name="Леонид Попов" userId="cc02b5965c9bae3b" providerId="LiveId" clId="{FDA48A03-3131-4F2F-A306-07301C63E802}" dt="2020-10-25T18:04:29.442" v="21768" actId="6549"/>
          <ac:spMkLst>
            <pc:docMk/>
            <pc:sldMk cId="1252469487" sldId="2707"/>
            <ac:spMk id="29" creationId="{6932870B-FCE3-4AB5-BF6C-A9AB33CA5ACC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0" creationId="{B9AA0B04-F18B-49CC-A226-F158AFE9CFAE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32" creationId="{1A74ACAD-7B27-4608-B185-1AA2923B3FCF}"/>
          </ac:spMkLst>
        </pc:spChg>
        <pc:spChg chg="mod">
          <ac:chgData name="Леонид Попов" userId="cc02b5965c9bae3b" providerId="LiveId" clId="{FDA48A03-3131-4F2F-A306-07301C63E802}" dt="2020-10-25T18:21:15.093" v="21909" actId="20577"/>
          <ac:spMkLst>
            <pc:docMk/>
            <pc:sldMk cId="1252469487" sldId="2707"/>
            <ac:spMk id="33" creationId="{1B91BBAB-CDDE-4F8D-998F-ED2AA73B0947}"/>
          </ac:spMkLst>
        </pc:spChg>
        <pc:spChg chg="mod">
          <ac:chgData name="Леонид Попов" userId="cc02b5965c9bae3b" providerId="LiveId" clId="{FDA48A03-3131-4F2F-A306-07301C63E802}" dt="2020-10-25T15:03:13.299" v="10777" actId="1035"/>
          <ac:spMkLst>
            <pc:docMk/>
            <pc:sldMk cId="1252469487" sldId="2707"/>
            <ac:spMk id="34" creationId="{8DA1FED6-2DB0-45BC-A322-B5828F0F5E1E}"/>
          </ac:spMkLst>
        </pc:spChg>
        <pc:spChg chg="mod">
          <ac:chgData name="Леонид Попов" userId="cc02b5965c9bae3b" providerId="LiveId" clId="{FDA48A03-3131-4F2F-A306-07301C63E802}" dt="2020-10-25T18:04:37.378" v="21770" actId="14100"/>
          <ac:spMkLst>
            <pc:docMk/>
            <pc:sldMk cId="1252469487" sldId="2707"/>
            <ac:spMk id="36" creationId="{25321281-78AF-4760-8D15-08797356BDA6}"/>
          </ac:spMkLst>
        </pc:spChg>
        <pc:spChg chg="mod">
          <ac:chgData name="Леонид Попов" userId="cc02b5965c9bae3b" providerId="LiveId" clId="{FDA48A03-3131-4F2F-A306-07301C63E802}" dt="2020-10-25T14:58:32.019" v="10738" actId="6549"/>
          <ac:spMkLst>
            <pc:docMk/>
            <pc:sldMk cId="1252469487" sldId="2707"/>
            <ac:spMk id="37" creationId="{496E292B-4CA0-41DC-97A1-84A4894ABDD5}"/>
          </ac:spMkLst>
        </pc:spChg>
        <pc:spChg chg="del mod">
          <ac:chgData name="Леонид Попов" userId="cc02b5965c9bae3b" providerId="LiveId" clId="{FDA48A03-3131-4F2F-A306-07301C63E802}" dt="2020-10-25T14:57:24.284" v="10696" actId="478"/>
          <ac:spMkLst>
            <pc:docMk/>
            <pc:sldMk cId="1252469487" sldId="2707"/>
            <ac:spMk id="38" creationId="{BC8210CD-A17E-463B-B019-0CEF6AF8241A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0" creationId="{F8157F50-FE51-463C-9142-1E84599BD251}"/>
          </ac:spMkLst>
        </pc:spChg>
        <pc:spChg chg="mod">
          <ac:chgData name="Леонид Попов" userId="cc02b5965c9bae3b" providerId="LiveId" clId="{FDA48A03-3131-4F2F-A306-07301C63E802}" dt="2020-10-24T17:10:22.091" v="10089" actId="404"/>
          <ac:spMkLst>
            <pc:docMk/>
            <pc:sldMk cId="1252469487" sldId="2707"/>
            <ac:spMk id="41" creationId="{C86F8927-91A3-4C82-A902-4F2820B07ABA}"/>
          </ac:spMkLst>
        </pc:spChg>
        <pc:grpChg chg="mod">
          <ac:chgData name="Леонид Попов" userId="cc02b5965c9bae3b" providerId="LiveId" clId="{FDA48A03-3131-4F2F-A306-07301C63E802}" dt="2020-10-25T18:04:41.255" v="21771" actId="14100"/>
          <ac:grpSpMkLst>
            <pc:docMk/>
            <pc:sldMk cId="1252469487" sldId="2707"/>
            <ac:grpSpMk id="23" creationId="{D483E3AE-0A0D-4802-9B66-40C3EF2CBFF9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27" creationId="{2BC5AECA-858B-47B5-8C14-C52040E8FBC5}"/>
          </ac:grpSpMkLst>
        </pc:grpChg>
        <pc:grpChg chg="mod">
          <ac:chgData name="Леонид Попов" userId="cc02b5965c9bae3b" providerId="LiveId" clId="{FDA48A03-3131-4F2F-A306-07301C63E802}" dt="2020-10-25T18:04:45.272" v="21772" actId="14100"/>
          <ac:grpSpMkLst>
            <pc:docMk/>
            <pc:sldMk cId="1252469487" sldId="2707"/>
            <ac:grpSpMk id="31" creationId="{404DA375-1187-4799-B3BB-5028BEADE771}"/>
          </ac:grpSpMkLst>
        </pc:grpChg>
        <pc:grpChg chg="mod">
          <ac:chgData name="Леонид Попов" userId="cc02b5965c9bae3b" providerId="LiveId" clId="{FDA48A03-3131-4F2F-A306-07301C63E802}" dt="2020-10-25T15:03:13.299" v="10777" actId="1035"/>
          <ac:grpSpMkLst>
            <pc:docMk/>
            <pc:sldMk cId="1252469487" sldId="2707"/>
            <ac:grpSpMk id="35" creationId="{12F4B5A6-2D4A-4A37-946A-072F43EBDF46}"/>
          </ac:grpSpMkLst>
        </pc:grpChg>
        <pc:grpChg chg="del">
          <ac:chgData name="Леонид Попов" userId="cc02b5965c9bae3b" providerId="LiveId" clId="{FDA48A03-3131-4F2F-A306-07301C63E802}" dt="2020-10-25T14:57:31.384" v="10697" actId="478"/>
          <ac:grpSpMkLst>
            <pc:docMk/>
            <pc:sldMk cId="1252469487" sldId="2707"/>
            <ac:grpSpMk id="39" creationId="{519A1ACE-1E07-484A-9497-DB3C7C7191FA}"/>
          </ac:grpSpMkLst>
        </pc:grpChg>
      </pc:sldChg>
      <pc:sldChg chg="modNotes">
        <pc:chgData name="Леонид Попов" userId="cc02b5965c9bae3b" providerId="LiveId" clId="{FDA48A03-3131-4F2F-A306-07301C63E802}" dt="2020-10-24T15:13:18.729" v="9497" actId="14100"/>
        <pc:sldMkLst>
          <pc:docMk/>
          <pc:sldMk cId="3070474282" sldId="2708"/>
        </pc:sldMkLst>
      </pc:sldChg>
      <pc:sldChg chg="addSp delSp modSp add mod delAnim modNotes modNotesTx">
        <pc:chgData name="Леонид Попов" userId="cc02b5965c9bae3b" providerId="LiveId" clId="{FDA48A03-3131-4F2F-A306-07301C63E802}" dt="2020-10-24T15:16:59.550" v="9562" actId="403"/>
        <pc:sldMkLst>
          <pc:docMk/>
          <pc:sldMk cId="2042666780" sldId="2709"/>
        </pc:sldMkLst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2" creationId="{8268EB28-777A-404A-9879-6ACDBFFC1051}"/>
          </ac:spMkLst>
        </pc:spChg>
        <pc:spChg chg="mod">
          <ac:chgData name="Леонид Попов" userId="cc02b5965c9bae3b" providerId="LiveId" clId="{FDA48A03-3131-4F2F-A306-07301C63E802}" dt="2020-10-24T11:37:24.691" v="1846" actId="6549"/>
          <ac:spMkLst>
            <pc:docMk/>
            <pc:sldMk cId="2042666780" sldId="2709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7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1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1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8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2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2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6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3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1" creationId="{00000000-0000-0000-0000-000000000000}"/>
          </ac:spMkLst>
        </pc:spChg>
        <pc:spChg chg="add mod">
          <ac:chgData name="Леонид Попов" userId="cc02b5965c9bae3b" providerId="LiveId" clId="{FDA48A03-3131-4F2F-A306-07301C63E802}" dt="2020-10-24T11:53:44.888" v="2087" actId="1036"/>
          <ac:spMkLst>
            <pc:docMk/>
            <pc:sldMk cId="2042666780" sldId="2709"/>
            <ac:spMk id="43" creationId="{F3153195-E416-44E7-98C6-5761E8C5BD95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4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5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1:37:33.279" v="1847" actId="478"/>
          <ac:spMkLst>
            <pc:docMk/>
            <pc:sldMk cId="2042666780" sldId="2709"/>
            <ac:spMk id="47" creationId="{00000000-0000-0000-0000-00000000000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59" creationId="{C6C2BE14-C66D-416C-8BE1-69079947C9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0" creationId="{218622DF-AC3D-4F55-B80C-99561E9FD07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4" creationId="{206BA8AA-EBF3-4C9C-ACD3-96E90DF0A31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5" creationId="{4EB13A87-DFDA-4ADC-BE94-ABF9BE090FB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6" creationId="{1D7E984C-9C7D-4F95-98E9-4E65D7B9531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7" creationId="{48421674-3634-4E3C-87A4-B25C7FD2C78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68" creationId="{6D356DC8-214F-452F-B97F-F5271B7F1AC2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3" creationId="{E98627E6-9498-4A9B-86C5-AFE17581FCB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5" creationId="{8F1ACF94-BFD2-407F-B6CB-7BED8258630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6" creationId="{F9E07834-7322-4DCD-B43F-A4BB37DE27B8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7" creationId="{D16C696B-614E-41F7-99FE-A6F71F8BEC40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8" creationId="{D469A166-91F2-48E6-9738-CA83290E0BF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79" creationId="{CD39AD7E-8F76-4552-A820-256A576A24D1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0" creationId="{70E2632C-58B2-4DFE-B8AF-123BD1BBDA04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1" creationId="{AA0C6E8D-801C-411E-94EF-61020881161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4" creationId="{03A13BFD-4AF6-46E9-9D0B-26561AA0420F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6" creationId="{EA16E4BE-1755-4124-9E22-A54820A589F9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88" creationId="{EDA4AE26-A832-497E-9297-E3DCE7B139C6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0" creationId="{97682F59-5204-4196-B2EF-E374654033DD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2" creationId="{2AEBF855-02DB-4820-8A6A-9A6D07D64067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4" creationId="{D4D7BE61-AC44-4490-86B1-30DDB9A8D2E5}"/>
          </ac:spMkLst>
        </pc:spChg>
        <pc:spChg chg="add del mod">
          <ac:chgData name="Леонид Попов" userId="cc02b5965c9bae3b" providerId="LiveId" clId="{FDA48A03-3131-4F2F-A306-07301C63E802}" dt="2020-10-24T11:40:49.714" v="1852"/>
          <ac:spMkLst>
            <pc:docMk/>
            <pc:sldMk cId="2042666780" sldId="2709"/>
            <ac:spMk id="96" creationId="{D766D54E-7C70-4FE7-AB3C-C8D2B6105F42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05" creationId="{D45DFCB7-B7AA-411A-8213-657748A33200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06" creationId="{4E91944E-1195-4763-A12D-662746790E56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10" creationId="{C266897F-64F1-40D2-871D-5A1C1AA83AED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1" creationId="{D55F29E6-BB80-4133-903C-307D74E364CC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2" creationId="{998D38DE-B3AB-4C1A-ABB1-77B3C8EF839D}"/>
          </ac:spMkLst>
        </pc:spChg>
        <pc:spChg chg="add mod">
          <ac:chgData name="Леонид Попов" userId="cc02b5965c9bae3b" providerId="LiveId" clId="{FDA48A03-3131-4F2F-A306-07301C63E802}" dt="2020-10-24T11:55:29.638" v="2149" actId="14100"/>
          <ac:spMkLst>
            <pc:docMk/>
            <pc:sldMk cId="2042666780" sldId="2709"/>
            <ac:spMk id="113" creationId="{DCDA4E66-0059-44BE-AFA5-F0D2834CDE37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14" creationId="{E2664EEC-9349-4C18-911F-184A12D94E64}"/>
          </ac:spMkLst>
        </pc:spChg>
        <pc:spChg chg="add mod">
          <ac:chgData name="Леонид Попов" userId="cc02b5965c9bae3b" providerId="LiveId" clId="{FDA48A03-3131-4F2F-A306-07301C63E802}" dt="2020-10-24T11:54:47.871" v="2112" actId="1038"/>
          <ac:spMkLst>
            <pc:docMk/>
            <pc:sldMk cId="2042666780" sldId="2709"/>
            <ac:spMk id="119" creationId="{3487DF28-4DE8-4603-8A4B-6486C10A12D1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1" creationId="{BE5F7839-C745-4AB0-9947-C99B1F39A2A4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2" creationId="{00A00415-29B8-4092-A992-4CD6B8773B9D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23" creationId="{DAC067A8-A25B-4E86-A062-19D4441226CA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4" creationId="{F78CF6BB-8F27-4CC7-88CE-1C12C68D02C0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5" creationId="{F892D4B7-33C5-41C7-9689-86D31A4494D3}"/>
          </ac:spMkLst>
        </pc:spChg>
        <pc:spChg chg="add del mod">
          <ac:chgData name="Леонид Попов" userId="cc02b5965c9bae3b" providerId="LiveId" clId="{FDA48A03-3131-4F2F-A306-07301C63E802}" dt="2020-10-24T11:52:01.518" v="1999" actId="478"/>
          <ac:spMkLst>
            <pc:docMk/>
            <pc:sldMk cId="2042666780" sldId="2709"/>
            <ac:spMk id="126" creationId="{90E48799-2761-46BA-8D42-5C15A965BD33}"/>
          </ac:spMkLst>
        </pc:spChg>
        <pc:spChg chg="add mod">
          <ac:chgData name="Леонид Попов" userId="cc02b5965c9bae3b" providerId="LiveId" clId="{FDA48A03-3131-4F2F-A306-07301C63E802}" dt="2020-10-24T11:45:13.687" v="1899" actId="1035"/>
          <ac:spMkLst>
            <pc:docMk/>
            <pc:sldMk cId="2042666780" sldId="2709"/>
            <ac:spMk id="127" creationId="{BA6F7C64-3B95-4889-9164-935FC1934FAC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0" creationId="{2EB363A8-561D-481E-A284-69171C04325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2" creationId="{1AA2D7FE-3A72-498E-93DC-57BC6FDD6B1E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4" creationId="{84E85BD8-DC58-4C7E-BF95-B9EE6B6A2CAD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6" creationId="{17348FA2-12D9-4C85-8A23-2CA7F1E4F9A9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38" creationId="{DF73EC9A-DA56-4F91-9E0C-701FE62A47EA}"/>
          </ac:spMkLst>
        </pc:spChg>
        <pc:spChg chg="add del mod">
          <ac:chgData name="Леонид Попов" userId="cc02b5965c9bae3b" providerId="LiveId" clId="{FDA48A03-3131-4F2F-A306-07301C63E802}" dt="2020-10-24T11:44:17.165" v="1877" actId="478"/>
          <ac:spMkLst>
            <pc:docMk/>
            <pc:sldMk cId="2042666780" sldId="2709"/>
            <ac:spMk id="140" creationId="{96AFBD45-458A-45A4-9263-6971352E1F74}"/>
          </ac:spMkLst>
        </pc:spChg>
        <pc:spChg chg="add del mod">
          <ac:chgData name="Леонид Попов" userId="cc02b5965c9bae3b" providerId="LiveId" clId="{FDA48A03-3131-4F2F-A306-07301C63E802}" dt="2020-10-24T11:41:12.470" v="1871" actId="478"/>
          <ac:spMkLst>
            <pc:docMk/>
            <pc:sldMk cId="2042666780" sldId="2709"/>
            <ac:spMk id="142" creationId="{6263139B-9F44-428F-A67C-FD56EB9C068B}"/>
          </ac:spMkLst>
        </pc:spChg>
        <pc:spChg chg="add mod">
          <ac:chgData name="Леонид Попов" userId="cc02b5965c9bae3b" providerId="LiveId" clId="{FDA48A03-3131-4F2F-A306-07301C63E802}" dt="2020-10-24T11:55:09.567" v="2148" actId="20577"/>
          <ac:spMkLst>
            <pc:docMk/>
            <pc:sldMk cId="2042666780" sldId="2709"/>
            <ac:spMk id="145" creationId="{AFF2F06E-A1C6-46FD-ABB7-8870F3C13922}"/>
          </ac:spMkLst>
        </pc:spChg>
        <pc:spChg chg="add mod">
          <ac:chgData name="Леонид Попов" userId="cc02b5965c9bae3b" providerId="LiveId" clId="{FDA48A03-3131-4F2F-A306-07301C63E802}" dt="2020-10-24T12:48:56.847" v="2769" actId="1037"/>
          <ac:spMkLst>
            <pc:docMk/>
            <pc:sldMk cId="2042666780" sldId="2709"/>
            <ac:spMk id="148" creationId="{4A2628B1-223E-4D14-90F2-2EB2B44212A5}"/>
          </ac:spMkLst>
        </pc:spChg>
        <pc:spChg chg="add del mod">
          <ac:chgData name="Леонид Попов" userId="cc02b5965c9bae3b" providerId="LiveId" clId="{FDA48A03-3131-4F2F-A306-07301C63E802}" dt="2020-10-24T12:52:43.821" v="2916" actId="478"/>
          <ac:spMkLst>
            <pc:docMk/>
            <pc:sldMk cId="2042666780" sldId="2709"/>
            <ac:spMk id="155" creationId="{9A7D048A-7B1F-429A-BE97-6E9FCAD5D4FF}"/>
          </ac:spMkLst>
        </pc:spChg>
        <pc:grpChg chg="add mod">
          <ac:chgData name="Леонид Попов" userId="cc02b5965c9bae3b" providerId="LiveId" clId="{FDA48A03-3131-4F2F-A306-07301C63E802}" dt="2020-10-24T12:53:36.845" v="2931" actId="1036"/>
          <ac:grpSpMkLst>
            <pc:docMk/>
            <pc:sldMk cId="2042666780" sldId="2709"/>
            <ac:grpSpMk id="158" creationId="{A298E971-E52D-4303-A105-5C88E32C916F}"/>
          </ac:grpSpMkLst>
        </pc:grpChg>
        <pc:graphicFrameChg chg="add del mod">
          <ac:chgData name="Леонид Попов" userId="cc02b5965c9bae3b" providerId="LiveId" clId="{FDA48A03-3131-4F2F-A306-07301C63E802}" dt="2020-10-24T11:40:49.714" v="1852"/>
          <ac:graphicFrameMkLst>
            <pc:docMk/>
            <pc:sldMk cId="2042666780" sldId="2709"/>
            <ac:graphicFrameMk id="82" creationId="{7468DEE4-BC58-4B05-8E8A-96DE4BB8BC9B}"/>
          </ac:graphicFrameMkLst>
        </pc:graphicFrameChg>
        <pc:graphicFrameChg chg="add mod modGraphic">
          <ac:chgData name="Леонид Попов" userId="cc02b5965c9bae3b" providerId="LiveId" clId="{FDA48A03-3131-4F2F-A306-07301C63E802}" dt="2020-10-24T11:57:44.878" v="2285" actId="20577"/>
          <ac:graphicFrameMkLst>
            <pc:docMk/>
            <pc:sldMk cId="2042666780" sldId="2709"/>
            <ac:graphicFrameMk id="128" creationId="{B7D336DC-2FA2-423F-A847-4DACFE994513}"/>
          </ac:graphicFrameMkLst>
        </pc:graphicFrameChg>
        <pc:picChg chg="add mod">
          <ac:chgData name="Леонид Попов" userId="cc02b5965c9bae3b" providerId="LiveId" clId="{FDA48A03-3131-4F2F-A306-07301C63E802}" dt="2020-10-24T12:48:52.775" v="2767" actId="1037"/>
          <ac:picMkLst>
            <pc:docMk/>
            <pc:sldMk cId="2042666780" sldId="2709"/>
            <ac:picMk id="46" creationId="{762217B2-357B-41EA-9DA3-8EBFF1E6CCAF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48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0" creationId="{00000000-0000-0000-0000-000000000000}"/>
          </ac:picMkLst>
        </pc:picChg>
        <pc:picChg chg="del">
          <ac:chgData name="Леонид Попов" userId="cc02b5965c9bae3b" providerId="LiveId" clId="{FDA48A03-3131-4F2F-A306-07301C63E802}" dt="2020-10-24T11:37:33.279" v="1847" actId="478"/>
          <ac:picMkLst>
            <pc:docMk/>
            <pc:sldMk cId="2042666780" sldId="2709"/>
            <ac:picMk id="51" creationId="{00000000-0000-0000-0000-000000000000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52" creationId="{24ABCEFF-57C6-433B-9AB3-AB4CDF5A6EB2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7" creationId="{6A8703F2-51EB-4D8C-9916-C5BB9B61EB8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89" creationId="{C9771A73-CDF6-4071-B954-DB6F8E19D044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1" creationId="{E98481A8-53D0-4499-A591-BC3D5C1D912C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3" creationId="{FCE79EB3-D64A-4740-91A1-F0C47C6AFC4B}"/>
          </ac:picMkLst>
        </pc:picChg>
        <pc:picChg chg="add del mod">
          <ac:chgData name="Леонид Попов" userId="cc02b5965c9bae3b" providerId="LiveId" clId="{FDA48A03-3131-4F2F-A306-07301C63E802}" dt="2020-10-24T11:40:49.714" v="1852"/>
          <ac:picMkLst>
            <pc:docMk/>
            <pc:sldMk cId="2042666780" sldId="2709"/>
            <ac:picMk id="95" creationId="{5DBD67BE-181E-44FF-9044-980EF49C2AC7}"/>
          </ac:picMkLst>
        </pc:picChg>
        <pc:picChg chg="add del mod">
          <ac:chgData name="Леонид Попов" userId="cc02b5965c9bae3b" providerId="LiveId" clId="{FDA48A03-3131-4F2F-A306-07301C63E802}" dt="2020-10-24T11:41:14.996" v="1872" actId="478"/>
          <ac:picMkLst>
            <pc:docMk/>
            <pc:sldMk cId="2042666780" sldId="2709"/>
            <ac:picMk id="98" creationId="{2FF911A6-3E14-4F3B-A238-7D02BD7DF979}"/>
          </ac:picMkLst>
        </pc:picChg>
        <pc:picChg chg="add del mod">
          <ac:chgData name="Леонид Попов" userId="cc02b5965c9bae3b" providerId="LiveId" clId="{FDA48A03-3131-4F2F-A306-07301C63E802}" dt="2020-10-24T11:41:06.597" v="1870" actId="478"/>
          <ac:picMkLst>
            <pc:docMk/>
            <pc:sldMk cId="2042666780" sldId="2709"/>
            <ac:picMk id="133" creationId="{3F7A7F89-1920-4FD2-AA1A-E6DFDD03EC1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5" creationId="{B2DFE976-4E60-4889-9B3C-A61E720CC7FD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7" creationId="{69C551A1-9D2A-45FA-BE30-529DD8A89DFC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39" creationId="{B5A4681A-41B3-46EE-AB2E-713753A72ED4}"/>
          </ac:picMkLst>
        </pc:picChg>
        <pc:picChg chg="add del mod">
          <ac:chgData name="Леонид Попов" userId="cc02b5965c9bae3b" providerId="LiveId" clId="{FDA48A03-3131-4F2F-A306-07301C63E802}" dt="2020-10-24T11:44:17.165" v="1877" actId="478"/>
          <ac:picMkLst>
            <pc:docMk/>
            <pc:sldMk cId="2042666780" sldId="2709"/>
            <ac:picMk id="141" creationId="{2832A7E7-F8A5-43A1-ADCC-24AD4C007100}"/>
          </ac:picMkLst>
        </pc:picChg>
        <pc:picChg chg="add mod">
          <ac:chgData name="Леонид Попов" userId="cc02b5965c9bae3b" providerId="LiveId" clId="{FDA48A03-3131-4F2F-A306-07301C63E802}" dt="2020-10-24T12:48:56.847" v="2769" actId="1037"/>
          <ac:picMkLst>
            <pc:docMk/>
            <pc:sldMk cId="2042666780" sldId="2709"/>
            <ac:picMk id="147" creationId="{BA1A417E-0034-4845-BE5F-00407A6217FB}"/>
          </ac:picMkLst>
        </pc:picChg>
        <pc:picChg chg="add mod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49" creationId="{B3F0A794-E2C1-4636-AD7F-D257584E4A0B}"/>
          </ac:picMkLst>
        </pc:picChg>
        <pc:picChg chg="add del mod modCrop">
          <ac:chgData name="Леонид Попов" userId="cc02b5965c9bae3b" providerId="LiveId" clId="{FDA48A03-3131-4F2F-A306-07301C63E802}" dt="2020-10-24T12:39:04.595" v="2642" actId="478"/>
          <ac:picMkLst>
            <pc:docMk/>
            <pc:sldMk cId="2042666780" sldId="2709"/>
            <ac:picMk id="150" creationId="{0AD016AE-3E4F-488B-9626-79E242F9DE29}"/>
          </ac:picMkLst>
        </pc:picChg>
        <pc:picChg chg="add del mod">
          <ac:chgData name="Леонид Попов" userId="cc02b5965c9bae3b" providerId="LiveId" clId="{FDA48A03-3131-4F2F-A306-07301C63E802}" dt="2020-10-24T12:43:24.702" v="2677" actId="478"/>
          <ac:picMkLst>
            <pc:docMk/>
            <pc:sldMk cId="2042666780" sldId="2709"/>
            <ac:picMk id="151" creationId="{EE1AE3C2-860F-4CAC-8E5F-FD2176B89CB5}"/>
          </ac:picMkLst>
        </pc:picChg>
        <pc:picChg chg="add del mod">
          <ac:chgData name="Леонид Попов" userId="cc02b5965c9bae3b" providerId="LiveId" clId="{FDA48A03-3131-4F2F-A306-07301C63E802}" dt="2020-10-24T12:45:43.022" v="2680" actId="478"/>
          <ac:picMkLst>
            <pc:docMk/>
            <pc:sldMk cId="2042666780" sldId="2709"/>
            <ac:picMk id="152" creationId="{19266F15-5266-4077-9158-D36E149D0A72}"/>
          </ac:picMkLst>
        </pc:picChg>
        <pc:picChg chg="add del mod">
          <ac:chgData name="Леонид Попов" userId="cc02b5965c9bae3b" providerId="LiveId" clId="{FDA48A03-3131-4F2F-A306-07301C63E802}" dt="2020-10-24T12:46:52.467" v="2687" actId="478"/>
          <ac:picMkLst>
            <pc:docMk/>
            <pc:sldMk cId="2042666780" sldId="2709"/>
            <ac:picMk id="153" creationId="{2B0B3765-1233-4978-9CAF-D7E9A5EC4579}"/>
          </ac:picMkLst>
        </pc:picChg>
        <pc:picChg chg="add del mod">
          <ac:chgData name="Леонид Попов" userId="cc02b5965c9bae3b" providerId="LiveId" clId="{FDA48A03-3131-4F2F-A306-07301C63E802}" dt="2020-10-24T12:53:21.709" v="2926" actId="478"/>
          <ac:picMkLst>
            <pc:docMk/>
            <pc:sldMk cId="2042666780" sldId="2709"/>
            <ac:picMk id="154" creationId="{4CCFF1EA-EFA8-434E-88EA-6D84996713B5}"/>
          </ac:picMkLst>
        </pc:picChg>
        <pc:picChg chg="add mod modCrop">
          <ac:chgData name="Леонид Попов" userId="cc02b5965c9bae3b" providerId="LiveId" clId="{FDA48A03-3131-4F2F-A306-07301C63E802}" dt="2020-10-24T12:53:15.123" v="2924" actId="164"/>
          <ac:picMkLst>
            <pc:docMk/>
            <pc:sldMk cId="2042666780" sldId="2709"/>
            <ac:picMk id="157" creationId="{52755E59-4C9E-4FF0-B1EB-BAC0F4338D18}"/>
          </ac:picMkLst>
        </pc:pic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9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2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5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7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8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19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0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6.509" v="1848" actId="478"/>
          <ac:cxnSpMkLst>
            <pc:docMk/>
            <pc:sldMk cId="2042666780" sldId="2709"/>
            <ac:cxnSpMk id="25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8.476" v="1849" actId="478"/>
          <ac:cxnSpMkLst>
            <pc:docMk/>
            <pc:sldMk cId="2042666780" sldId="2709"/>
            <ac:cxnSpMk id="26" creationId="{00000000-0000-0000-0000-000000000000}"/>
          </ac:cxnSpMkLst>
        </pc:cxnChg>
        <pc:cxnChg chg="del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2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1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3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4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7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38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0" creationId="{00000000-0000-0000-0000-000000000000}"/>
          </ac:cxnSpMkLst>
        </pc:cxnChg>
        <pc:cxnChg chg="del mod">
          <ac:chgData name="Леонид Попов" userId="cc02b5965c9bae3b" providerId="LiveId" clId="{FDA48A03-3131-4F2F-A306-07301C63E802}" dt="2020-10-24T11:37:33.279" v="1847" actId="478"/>
          <ac:cxnSpMkLst>
            <pc:docMk/>
            <pc:sldMk cId="2042666780" sldId="2709"/>
            <ac:cxnSpMk id="42" creationId="{00000000-0000-0000-0000-00000000000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49" creationId="{4F0E5C9F-9134-4FCD-809C-829BD03365E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3" creationId="{9D5E9AEA-F54F-4891-835E-5D6C955276E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4" creationId="{06F80783-4490-4AF0-9348-D81D3C717432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5" creationId="{92102CEC-B1CE-461D-BF77-55EC7339B7F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6" creationId="{1FA21D66-6945-4898-A82B-7CE5C741DA6F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7" creationId="{0033E675-DDC3-45E1-A6BB-022E3F6EB5A3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58" creationId="{1C03BEA1-CC08-4623-922D-D01A03FA23CB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1" creationId="{CAE4C4F9-6549-41B6-B934-A8A6258DB297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2" creationId="{2846B5DD-4D32-4E89-AC8C-4D8D94310C40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3" creationId="{8048229D-813A-4BD1-BCB2-A9A3A17837D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69" creationId="{D31D341B-14A8-48C6-A142-AE429750D398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0" creationId="{2C7D57F7-8055-461D-8689-C78672C18AB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1" creationId="{1CBC26F8-0CC8-454A-9676-3D4A1D7CFB6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2" creationId="{1B367B03-9243-4934-9D6A-3BCB05A7A33D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74" creationId="{76C65AAE-FA08-4511-B552-A702DCA81F35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3" creationId="{F79DC635-5FEB-42C8-BA6F-8E5F6FEEB366}"/>
          </ac:cxnSpMkLst>
        </pc:cxnChg>
        <pc:cxnChg chg="add del mod">
          <ac:chgData name="Леонид Попов" userId="cc02b5965c9bae3b" providerId="LiveId" clId="{FDA48A03-3131-4F2F-A306-07301C63E802}" dt="2020-10-24T11:40:49.714" v="1852"/>
          <ac:cxnSpMkLst>
            <pc:docMk/>
            <pc:sldMk cId="2042666780" sldId="2709"/>
            <ac:cxnSpMk id="85" creationId="{704307B4-5B79-4C48-AC59-DEEC1D3E52A5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97" creationId="{0320F6E7-7019-4654-BA0A-D359342DE6E1}"/>
          </ac:cxnSpMkLst>
        </pc:cxnChg>
        <pc:cxnChg chg="add mod ord">
          <ac:chgData name="Леонид Попов" userId="cc02b5965c9bae3b" providerId="LiveId" clId="{FDA48A03-3131-4F2F-A306-07301C63E802}" dt="2020-10-24T11:54:13.646" v="2095" actId="1038"/>
          <ac:cxnSpMkLst>
            <pc:docMk/>
            <pc:sldMk cId="2042666780" sldId="2709"/>
            <ac:cxnSpMk id="99" creationId="{68D1C1A3-4468-416A-83A9-BA3DC298BAE5}"/>
          </ac:cxnSpMkLst>
        </pc:cxnChg>
        <pc:cxnChg chg="add mod ord">
          <ac:chgData name="Леонид Попов" userId="cc02b5965c9bae3b" providerId="LiveId" clId="{FDA48A03-3131-4F2F-A306-07301C63E802}" dt="2020-10-24T11:54:18.408" v="2100" actId="1037"/>
          <ac:cxnSpMkLst>
            <pc:docMk/>
            <pc:sldMk cId="2042666780" sldId="2709"/>
            <ac:cxnSpMk id="100" creationId="{8E07E366-25CA-4F99-B2DF-0AA10AC6CCC4}"/>
          </ac:cxnSpMkLst>
        </pc:cxnChg>
        <pc:cxnChg chg="add mod ord">
          <ac:chgData name="Леонид Попов" userId="cc02b5965c9bae3b" providerId="LiveId" clId="{FDA48A03-3131-4F2F-A306-07301C63E802}" dt="2020-10-24T11:54:24.887" v="2104" actId="1038"/>
          <ac:cxnSpMkLst>
            <pc:docMk/>
            <pc:sldMk cId="2042666780" sldId="2709"/>
            <ac:cxnSpMk id="101" creationId="{6540B413-7A46-4D34-97B1-3995C7A3EE81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2" creationId="{5DFF9898-36D8-4D07-9BED-DAE1AF722C89}"/>
          </ac:cxnSpMkLst>
        </pc:cxnChg>
        <pc:cxnChg chg="add mod ord">
          <ac:chgData name="Леонид Попов" userId="cc02b5965c9bae3b" providerId="LiveId" clId="{FDA48A03-3131-4F2F-A306-07301C63E802}" dt="2020-10-24T11:52:36.897" v="2026" actId="166"/>
          <ac:cxnSpMkLst>
            <pc:docMk/>
            <pc:sldMk cId="2042666780" sldId="2709"/>
            <ac:cxnSpMk id="103" creationId="{B3DA1176-40E2-4FED-9A96-A93AD7872CC4}"/>
          </ac:cxnSpMkLst>
        </pc:cxnChg>
        <pc:cxnChg chg="add del mod ord">
          <ac:chgData name="Леонид Попов" userId="cc02b5965c9bae3b" providerId="LiveId" clId="{FDA48A03-3131-4F2F-A306-07301C63E802}" dt="2020-10-24T11:54:08.365" v="2089" actId="478"/>
          <ac:cxnSpMkLst>
            <pc:docMk/>
            <pc:sldMk cId="2042666780" sldId="2709"/>
            <ac:cxnSpMk id="104" creationId="{53102BDC-F1FE-42EF-ADF8-CE9FBBD38795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7" creationId="{FA1343EE-54E7-476B-90AF-8248C072CC21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8" creationId="{008BEC98-A7CC-4569-8FFD-FA0F61EBD6CE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09" creationId="{DC7ACF36-B812-44E7-A6AE-A4E014DE3014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5" creationId="{5FCBE5C8-07F2-41BA-B38D-A3EC8103631F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6" creationId="{04848AAC-656E-4F73-BED1-681302E2E2E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7" creationId="{8A5A6700-BD22-4F57-9730-F50870995240}"/>
          </ac:cxnSpMkLst>
        </pc:cxnChg>
        <pc:cxnChg chg="add del mod">
          <ac:chgData name="Леонид Попов" userId="cc02b5965c9bae3b" providerId="LiveId" clId="{FDA48A03-3131-4F2F-A306-07301C63E802}" dt="2020-10-24T11:41:32.230" v="1873" actId="478"/>
          <ac:cxnSpMkLst>
            <pc:docMk/>
            <pc:sldMk cId="2042666780" sldId="2709"/>
            <ac:cxnSpMk id="118" creationId="{C7357C4B-AEAC-4B2E-B7B4-E8555339E415}"/>
          </ac:cxnSpMkLst>
        </pc:cxnChg>
        <pc:cxnChg chg="add mod ord">
          <ac:chgData name="Леонид Попов" userId="cc02b5965c9bae3b" providerId="LiveId" clId="{FDA48A03-3131-4F2F-A306-07301C63E802}" dt="2020-10-24T11:54:36.863" v="2110" actId="1038"/>
          <ac:cxnSpMkLst>
            <pc:docMk/>
            <pc:sldMk cId="2042666780" sldId="2709"/>
            <ac:cxnSpMk id="120" creationId="{A8F75FEB-47AB-41B6-B55D-2AAA77D87C56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29" creationId="{077B0A6A-4177-4715-AA46-4FDD5FCB54A9}"/>
          </ac:cxnSpMkLst>
        </pc:cxnChg>
        <pc:cxnChg chg="add mod">
          <ac:chgData name="Леонид Попов" userId="cc02b5965c9bae3b" providerId="LiveId" clId="{FDA48A03-3131-4F2F-A306-07301C63E802}" dt="2020-10-24T11:53:44.888" v="2087" actId="1036"/>
          <ac:cxnSpMkLst>
            <pc:docMk/>
            <pc:sldMk cId="2042666780" sldId="2709"/>
            <ac:cxnSpMk id="131" creationId="{4942711C-EE28-4B97-8305-C5DC1910F27D}"/>
          </ac:cxnSpMkLst>
        </pc:cxnChg>
      </pc:sldChg>
      <pc:sldChg chg="addSp delSp modSp add mod ord modNotes modNotesTx">
        <pc:chgData name="Леонид Попов" userId="cc02b5965c9bae3b" providerId="LiveId" clId="{FDA48A03-3131-4F2F-A306-07301C63E802}" dt="2020-10-24T15:16:33.909" v="9556" actId="403"/>
        <pc:sldMkLst>
          <pc:docMk/>
          <pc:sldMk cId="541296264" sldId="2710"/>
        </pc:sldMkLst>
        <pc:spChg chg="mod">
          <ac:chgData name="Леонид Попов" userId="cc02b5965c9bae3b" providerId="LiveId" clId="{FDA48A03-3131-4F2F-A306-07301C63E802}" dt="2020-10-24T13:26:27.114" v="4927" actId="20577"/>
          <ac:spMkLst>
            <pc:docMk/>
            <pc:sldMk cId="541296264" sldId="2710"/>
            <ac:spMk id="3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9" creationId="{00000000-0000-0000-0000-000000000000}"/>
          </ac:spMkLst>
        </pc:spChg>
        <pc:spChg chg="del">
          <ac:chgData name="Леонид Попов" userId="cc02b5965c9bae3b" providerId="LiveId" clId="{FDA48A03-3131-4F2F-A306-07301C63E802}" dt="2020-10-24T13:25:38.359" v="4869" actId="478"/>
          <ac:spMkLst>
            <pc:docMk/>
            <pc:sldMk cId="541296264" sldId="2710"/>
            <ac:spMk id="15" creationId="{C7940F41-F359-4D96-B2E9-ED77BCF886A0}"/>
          </ac:spMkLst>
        </pc:spChg>
        <pc:grpChg chg="del">
          <ac:chgData name="Леонид Попов" userId="cc02b5965c9bae3b" providerId="LiveId" clId="{FDA48A03-3131-4F2F-A306-07301C63E802}" dt="2020-10-24T13:25:38.359" v="4869" actId="478"/>
          <ac:grpSpMkLst>
            <pc:docMk/>
            <pc:sldMk cId="541296264" sldId="2710"/>
            <ac:grpSpMk id="10" creationId="{00000000-0000-0000-0000-000000000000}"/>
          </ac:grpSpMkLst>
        </pc:grpChg>
        <pc:graphicFrameChg chg="del">
          <ac:chgData name="Леонид Попов" userId="cc02b5965c9bae3b" providerId="LiveId" clId="{FDA48A03-3131-4F2F-A306-07301C63E802}" dt="2020-10-24T13:25:38.359" v="4869" actId="478"/>
          <ac:graphicFrameMkLst>
            <pc:docMk/>
            <pc:sldMk cId="541296264" sldId="2710"/>
            <ac:graphicFrameMk id="14" creationId="{00000000-0000-0000-0000-000000000000}"/>
          </ac:graphicFrameMkLst>
        </pc:graphicFrameChg>
        <pc:picChg chg="add mod">
          <ac:chgData name="Леонид Попов" userId="cc02b5965c9bae3b" providerId="LiveId" clId="{FDA48A03-3131-4F2F-A306-07301C63E802}" dt="2020-10-24T13:25:56.347" v="4875" actId="12788"/>
          <ac:picMkLst>
            <pc:docMk/>
            <pc:sldMk cId="541296264" sldId="2710"/>
            <ac:picMk id="2" creationId="{9D1802CD-5B44-4866-83C0-EAC2F184A716}"/>
          </ac:picMkLst>
        </pc:picChg>
      </pc:sldChg>
      <pc:sldChg chg="addSp delSp modSp add del mod">
        <pc:chgData name="Леонид Попов" userId="cc02b5965c9bae3b" providerId="LiveId" clId="{FDA48A03-3131-4F2F-A306-07301C63E802}" dt="2020-10-24T12:53:17.888" v="2925" actId="47"/>
        <pc:sldMkLst>
          <pc:docMk/>
          <pc:sldMk cId="1582994035" sldId="2710"/>
        </pc:sldMkLst>
        <pc:spChg chg="mod">
          <ac:chgData name="Леонид Попов" userId="cc02b5965c9bae3b" providerId="LiveId" clId="{FDA48A03-3131-4F2F-A306-07301C63E802}" dt="2020-10-24T12:52:07.590" v="2912" actId="1076"/>
          <ac:spMkLst>
            <pc:docMk/>
            <pc:sldMk cId="1582994035" sldId="2710"/>
            <ac:spMk id="155" creationId="{9A7D048A-7B1F-429A-BE97-6E9FCAD5D4FF}"/>
          </ac:spMkLst>
        </pc:spChg>
        <pc:picChg chg="add del mod">
          <ac:chgData name="Леонид Попов" userId="cc02b5965c9bae3b" providerId="LiveId" clId="{FDA48A03-3131-4F2F-A306-07301C63E802}" dt="2020-10-24T12:52:38.816" v="2915" actId="21"/>
          <ac:picMkLst>
            <pc:docMk/>
            <pc:sldMk cId="1582994035" sldId="2710"/>
            <ac:picMk id="4" creationId="{1F0EB75F-6411-4A3D-992F-08D726F0E593}"/>
          </ac:picMkLst>
        </pc:picChg>
        <pc:picChg chg="del">
          <ac:chgData name="Леонид Попов" userId="cc02b5965c9bae3b" providerId="LiveId" clId="{FDA48A03-3131-4F2F-A306-07301C63E802}" dt="2020-10-24T12:52:03.634" v="2911" actId="478"/>
          <ac:picMkLst>
            <pc:docMk/>
            <pc:sldMk cId="1582994035" sldId="2710"/>
            <ac:picMk id="147" creationId="{BA1A417E-0034-4845-BE5F-00407A6217FB}"/>
          </ac:picMkLst>
        </pc:picChg>
        <pc:picChg chg="mod">
          <ac:chgData name="Леонид Попов" userId="cc02b5965c9bae3b" providerId="LiveId" clId="{FDA48A03-3131-4F2F-A306-07301C63E802}" dt="2020-10-24T12:52:07.590" v="2912" actId="1076"/>
          <ac:picMkLst>
            <pc:docMk/>
            <pc:sldMk cId="1582994035" sldId="2710"/>
            <ac:picMk id="149" creationId="{B3F0A794-E2C1-4636-AD7F-D257584E4A0B}"/>
          </ac:picMkLst>
        </pc:picChg>
      </pc:sldChg>
      <pc:sldChg chg="add del">
        <pc:chgData name="Леонид Попов" userId="cc02b5965c9bae3b" providerId="LiveId" clId="{FDA48A03-3131-4F2F-A306-07301C63E802}" dt="2020-10-24T13:25:17.623" v="4867" actId="2890"/>
        <pc:sldMkLst>
          <pc:docMk/>
          <pc:sldMk cId="3819395886" sldId="2710"/>
        </pc:sldMkLst>
      </pc:sldChg>
      <pc:sldChg chg="addSp delSp modSp new mod modNotesTx">
        <pc:chgData name="Леонид Попов" userId="cc02b5965c9bae3b" providerId="LiveId" clId="{FDA48A03-3131-4F2F-A306-07301C63E802}" dt="2020-10-25T13:20:41.836" v="10695" actId="20577"/>
        <pc:sldMkLst>
          <pc:docMk/>
          <pc:sldMk cId="3743558147" sldId="2711"/>
        </pc:sldMkLst>
        <pc:spChg chg="add mod">
          <ac:chgData name="Леонид Попов" userId="cc02b5965c9bae3b" providerId="LiveId" clId="{FDA48A03-3131-4F2F-A306-07301C63E802}" dt="2020-10-24T14:45:26.874" v="9346"/>
          <ac:spMkLst>
            <pc:docMk/>
            <pc:sldMk cId="3743558147" sldId="2711"/>
            <ac:spMk id="2" creationId="{5D4BA1B2-8EFF-4440-9F22-1EAED0F9221D}"/>
          </ac:spMkLst>
        </pc:spChg>
        <pc:spChg chg="mod">
          <ac:chgData name="Леонид Попов" userId="cc02b5965c9bae3b" providerId="LiveId" clId="{FDA48A03-3131-4F2F-A306-07301C63E802}" dt="2020-10-24T16:50:38.717" v="9823" actId="1036"/>
          <ac:spMkLst>
            <pc:docMk/>
            <pc:sldMk cId="3743558147" sldId="2711"/>
            <ac:spMk id="5" creationId="{EEEB7398-D734-466E-810F-41E228256249}"/>
          </ac:spMkLst>
        </pc:spChg>
        <pc:spChg chg="mod">
          <ac:chgData name="Леонид Попов" userId="cc02b5965c9bae3b" providerId="LiveId" clId="{FDA48A03-3131-4F2F-A306-07301C63E802}" dt="2020-10-24T16:49:05.453" v="9787" actId="1036"/>
          <ac:spMkLst>
            <pc:docMk/>
            <pc:sldMk cId="3743558147" sldId="2711"/>
            <ac:spMk id="7" creationId="{12527E27-B603-4635-B416-39270E7F7AB8}"/>
          </ac:spMkLst>
        </pc:spChg>
        <pc:spChg chg="add mod">
          <ac:chgData name="Леонид Попов" userId="cc02b5965c9bae3b" providerId="LiveId" clId="{FDA48A03-3131-4F2F-A306-07301C63E802}" dt="2020-10-24T16:53:56.330" v="9863" actId="688"/>
          <ac:spMkLst>
            <pc:docMk/>
            <pc:sldMk cId="3743558147" sldId="2711"/>
            <ac:spMk id="8" creationId="{BD760E3E-EE17-4701-90F4-4F9FBDEFA0F1}"/>
          </ac:spMkLst>
        </pc:spChg>
        <pc:spChg chg="add mod">
          <ac:chgData name="Леонид Попов" userId="cc02b5965c9bae3b" providerId="LiveId" clId="{FDA48A03-3131-4F2F-A306-07301C63E802}" dt="2020-10-24T14:47:32.938" v="9452" actId="20577"/>
          <ac:spMkLst>
            <pc:docMk/>
            <pc:sldMk cId="3743558147" sldId="2711"/>
            <ac:spMk id="10" creationId="{7515438E-6C5E-4CAA-B516-7F5CC4838E3E}"/>
          </ac:spMkLst>
        </pc:spChg>
        <pc:spChg chg="add mod">
          <ac:chgData name="Леонид Попов" userId="cc02b5965c9bae3b" providerId="LiveId" clId="{FDA48A03-3131-4F2F-A306-07301C63E802}" dt="2020-10-24T16:49:12.255" v="9788" actId="1076"/>
          <ac:spMkLst>
            <pc:docMk/>
            <pc:sldMk cId="3743558147" sldId="2711"/>
            <ac:spMk id="11" creationId="{49175AC5-3E14-4BAB-BFEF-07FC82C24323}"/>
          </ac:spMkLst>
        </pc:spChg>
        <pc:spChg chg="add del mod">
          <ac:chgData name="Леонид Попов" userId="cc02b5965c9bae3b" providerId="LiveId" clId="{FDA48A03-3131-4F2F-A306-07301C63E802}" dt="2020-10-24T16:56:27.425" v="9887" actId="478"/>
          <ac:spMkLst>
            <pc:docMk/>
            <pc:sldMk cId="3743558147" sldId="2711"/>
            <ac:spMk id="12" creationId="{B534A927-0044-4B75-B8C2-188A85FE6FF5}"/>
          </ac:spMkLst>
        </pc:spChg>
        <pc:grpChg chg="add mod">
          <ac:chgData name="Леонид Попов" userId="cc02b5965c9bae3b" providerId="LiveId" clId="{FDA48A03-3131-4F2F-A306-07301C63E802}" dt="2020-10-24T16:52:29.435" v="9830" actId="1076"/>
          <ac:grpSpMkLst>
            <pc:docMk/>
            <pc:sldMk cId="3743558147" sldId="2711"/>
            <ac:grpSpMk id="3" creationId="{E4B208EE-5329-4723-B75C-1DE43E15A471}"/>
          </ac:grpSpMkLst>
        </pc:grpChg>
        <pc:grpChg chg="mod">
          <ac:chgData name="Леонид Попов" userId="cc02b5965c9bae3b" providerId="LiveId" clId="{FDA48A03-3131-4F2F-A306-07301C63E802}" dt="2020-10-24T16:48:13.264" v="9733" actId="571"/>
          <ac:grpSpMkLst>
            <pc:docMk/>
            <pc:sldMk cId="3743558147" sldId="2711"/>
            <ac:grpSpMk id="4" creationId="{002B10BA-C4AF-41EF-A8F3-3703D6044A0D}"/>
          </ac:grpSpMkLst>
        </pc:grpChg>
        <pc:graphicFrameChg chg="mod">
          <ac:chgData name="Леонид Попов" userId="cc02b5965c9bae3b" providerId="LiveId" clId="{FDA48A03-3131-4F2F-A306-07301C63E802}" dt="2020-10-24T16:50:28.845" v="9816"/>
          <ac:graphicFrameMkLst>
            <pc:docMk/>
            <pc:sldMk cId="3743558147" sldId="2711"/>
            <ac:graphicFrameMk id="6" creationId="{823E948B-B8C2-4F8B-8CC0-9E2EFF734BE8}"/>
          </ac:graphicFrameMkLst>
        </pc:graphicFrameChg>
      </pc:sldChg>
      <pc:sldChg chg="add">
        <pc:chgData name="Леонид Попов" userId="cc02b5965c9bae3b" providerId="LiveId" clId="{FDA48A03-3131-4F2F-A306-07301C63E802}" dt="2020-10-25T17:48:30.429" v="21638"/>
        <pc:sldMkLst>
          <pc:docMk/>
          <pc:sldMk cId="785998685" sldId="2712"/>
        </pc:sldMkLst>
      </pc:sldChg>
      <pc:sldChg chg="addSp modSp new del mod ord modShow modNotesTx">
        <pc:chgData name="Леонид Попов" userId="cc02b5965c9bae3b" providerId="LiveId" clId="{FDA48A03-3131-4F2F-A306-07301C63E802}" dt="2020-10-25T17:48:27.025" v="21637" actId="2696"/>
        <pc:sldMkLst>
          <pc:docMk/>
          <pc:sldMk cId="2683052125" sldId="2712"/>
        </pc:sldMkLst>
        <pc:spChg chg="add mod">
          <ac:chgData name="Леонид Попов" userId="cc02b5965c9bae3b" providerId="LiveId" clId="{FDA48A03-3131-4F2F-A306-07301C63E802}" dt="2020-10-24T17:03:26.992" v="9941" actId="20577"/>
          <ac:spMkLst>
            <pc:docMk/>
            <pc:sldMk cId="2683052125" sldId="2712"/>
            <ac:spMk id="5" creationId="{68F6C310-34D7-4AB2-8D7D-EB0E5DD87498}"/>
          </ac:spMkLst>
        </pc:spChg>
        <pc:spChg chg="add mod">
          <ac:chgData name="Леонид Попов" userId="cc02b5965c9bae3b" providerId="LiveId" clId="{FDA48A03-3131-4F2F-A306-07301C63E802}" dt="2020-10-24T17:04:52.606" v="9977" actId="1076"/>
          <ac:spMkLst>
            <pc:docMk/>
            <pc:sldMk cId="2683052125" sldId="2712"/>
            <ac:spMk id="6" creationId="{E729B6D4-2AFB-4906-86E3-F7883CC79D58}"/>
          </ac:spMkLst>
        </pc:spChg>
        <pc:spChg chg="add mod">
          <ac:chgData name="Леонид Попов" userId="cc02b5965c9bae3b" providerId="LiveId" clId="{FDA48A03-3131-4F2F-A306-07301C63E802}" dt="2020-10-24T17:06:22.932" v="10059" actId="1076"/>
          <ac:spMkLst>
            <pc:docMk/>
            <pc:sldMk cId="2683052125" sldId="2712"/>
            <ac:spMk id="9" creationId="{7848E7B9-C6B7-462B-8E3A-7D913A8575DF}"/>
          </ac:spMkLst>
        </pc:spChg>
        <pc:spChg chg="add mod">
          <ac:chgData name="Леонид Попов" userId="cc02b5965c9bae3b" providerId="LiveId" clId="{FDA48A03-3131-4F2F-A306-07301C63E802}" dt="2020-10-24T17:06:56.890" v="10074" actId="1076"/>
          <ac:spMkLst>
            <pc:docMk/>
            <pc:sldMk cId="2683052125" sldId="2712"/>
            <ac:spMk id="11" creationId="{79F369D3-2102-4562-8646-A8C527452023}"/>
          </ac:spMkLst>
        </pc:spChg>
        <pc:spChg chg="add mod ord">
          <ac:chgData name="Леонид Попов" userId="cc02b5965c9bae3b" providerId="LiveId" clId="{FDA48A03-3131-4F2F-A306-07301C63E802}" dt="2020-10-25T17:16:22.233" v="19305" actId="1038"/>
          <ac:spMkLst>
            <pc:docMk/>
            <pc:sldMk cId="2683052125" sldId="2712"/>
            <ac:spMk id="13" creationId="{5811B531-8260-4A38-818E-58F245053B34}"/>
          </ac:spMkLst>
        </pc:spChg>
        <pc:spChg chg="add mod ord">
          <ac:chgData name="Леонид Попов" userId="cc02b5965c9bae3b" providerId="LiveId" clId="{FDA48A03-3131-4F2F-A306-07301C63E802}" dt="2020-10-24T17:08:44.022" v="10083" actId="207"/>
          <ac:spMkLst>
            <pc:docMk/>
            <pc:sldMk cId="2683052125" sldId="2712"/>
            <ac:spMk id="14" creationId="{5BCE1A79-1955-4D53-8443-B86E9F7ABAE7}"/>
          </ac:spMkLst>
        </pc:spChg>
        <pc:spChg chg="add mod ord">
          <ac:chgData name="Леонид Попов" userId="cc02b5965c9bae3b" providerId="LiveId" clId="{FDA48A03-3131-4F2F-A306-07301C63E802}" dt="2020-10-24T17:09:10.107" v="10087" actId="1076"/>
          <ac:spMkLst>
            <pc:docMk/>
            <pc:sldMk cId="2683052125" sldId="2712"/>
            <ac:spMk id="15" creationId="{76594CFE-C33C-431D-BFCC-08DE8E263AF8}"/>
          </ac:spMkLst>
        </pc:spChg>
        <pc:picChg chg="add mod">
          <ac:chgData name="Леонид Попов" userId="cc02b5965c9bae3b" providerId="LiveId" clId="{FDA48A03-3131-4F2F-A306-07301C63E802}" dt="2020-10-24T17:04:42.529" v="9975" actId="1076"/>
          <ac:picMkLst>
            <pc:docMk/>
            <pc:sldMk cId="2683052125" sldId="2712"/>
            <ac:picMk id="3" creationId="{CEDFC07A-6CA9-40D3-B9A5-07121A673676}"/>
          </ac:picMkLst>
        </pc:picChg>
        <pc:cxnChg chg="add mod">
          <ac:chgData name="Леонид Попов" userId="cc02b5965c9bae3b" providerId="LiveId" clId="{FDA48A03-3131-4F2F-A306-07301C63E802}" dt="2020-10-24T17:05:19.616" v="9985" actId="692"/>
          <ac:cxnSpMkLst>
            <pc:docMk/>
            <pc:sldMk cId="2683052125" sldId="2712"/>
            <ac:cxnSpMk id="8" creationId="{6B206BC4-9424-4956-A1B5-294F17591C5C}"/>
          </ac:cxnSpMkLst>
        </pc:cxnChg>
        <pc:cxnChg chg="add mod">
          <ac:chgData name="Леонид Попов" userId="cc02b5965c9bae3b" providerId="LiveId" clId="{FDA48A03-3131-4F2F-A306-07301C63E802}" dt="2020-10-24T17:06:28.780" v="10062" actId="1036"/>
          <ac:cxnSpMkLst>
            <pc:docMk/>
            <pc:sldMk cId="2683052125" sldId="2712"/>
            <ac:cxnSpMk id="10" creationId="{67CBD7A9-37C8-4E4E-9D4A-103A2CB2423D}"/>
          </ac:cxnSpMkLst>
        </pc:cxnChg>
        <pc:cxnChg chg="add mod">
          <ac:chgData name="Леонид Попов" userId="cc02b5965c9bae3b" providerId="LiveId" clId="{FDA48A03-3131-4F2F-A306-07301C63E802}" dt="2020-10-24T17:06:53.944" v="10073" actId="571"/>
          <ac:cxnSpMkLst>
            <pc:docMk/>
            <pc:sldMk cId="2683052125" sldId="2712"/>
            <ac:cxnSpMk id="12" creationId="{C9135597-9A10-46F2-8530-DEEBC38EBD97}"/>
          </ac:cxnSpMkLst>
        </pc:cxnChg>
      </pc:sldChg>
      <pc:sldChg chg="addSp delSp modSp new mod modNotesTx">
        <pc:chgData name="Леонид Попов" userId="cc02b5965c9bae3b" providerId="LiveId" clId="{FDA48A03-3131-4F2F-A306-07301C63E802}" dt="2020-10-25T17:00:01.069" v="17659" actId="20577"/>
        <pc:sldMkLst>
          <pc:docMk/>
          <pc:sldMk cId="1785321096" sldId="2713"/>
        </pc:sldMkLst>
        <pc:spChg chg="add mod">
          <ac:chgData name="Леонид Попов" userId="cc02b5965c9bae3b" providerId="LiveId" clId="{FDA48A03-3131-4F2F-A306-07301C63E802}" dt="2020-10-25T15:02:17.575" v="10772" actId="6549"/>
          <ac:spMkLst>
            <pc:docMk/>
            <pc:sldMk cId="1785321096" sldId="2713"/>
            <ac:spMk id="3" creationId="{ECCBC75B-19ED-445F-BDC5-F376143368F5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4" creationId="{811B9C00-AF8E-416E-8DFE-CDF6B93D201E}"/>
          </ac:spMkLst>
        </pc:spChg>
        <pc:spChg chg="mod topLvl">
          <ac:chgData name="Леонид Попов" userId="cc02b5965c9bae3b" providerId="LiveId" clId="{FDA48A03-3131-4F2F-A306-07301C63E802}" dt="2020-10-25T15:01:25.993" v="10763" actId="208"/>
          <ac:spMkLst>
            <pc:docMk/>
            <pc:sldMk cId="1785321096" sldId="2713"/>
            <ac:spMk id="5" creationId="{79BC1C9E-9AE8-4A2F-BCA9-FB61F7797C9A}"/>
          </ac:spMkLst>
        </pc:spChg>
        <pc:spChg chg="mod topLvl">
          <ac:chgData name="Леонид Попов" userId="cc02b5965c9bae3b" providerId="LiveId" clId="{FDA48A03-3131-4F2F-A306-07301C63E802}" dt="2020-10-25T15:01:13.087" v="10762" actId="208"/>
          <ac:spMkLst>
            <pc:docMk/>
            <pc:sldMk cId="1785321096" sldId="2713"/>
            <ac:spMk id="6" creationId="{FCC057F8-3325-4887-80D6-410518275FC8}"/>
          </ac:spMkLst>
        </pc:spChg>
        <pc:spChg chg="mod topLvl">
          <ac:chgData name="Леонид Попов" userId="cc02b5965c9bae3b" providerId="LiveId" clId="{FDA48A03-3131-4F2F-A306-07301C63E802}" dt="2020-10-25T16:52:39.735" v="16623" actId="1037"/>
          <ac:spMkLst>
            <pc:docMk/>
            <pc:sldMk cId="1785321096" sldId="2713"/>
            <ac:spMk id="8" creationId="{A5D28B67-A8A9-4B73-9237-204003AB1E00}"/>
          </ac:spMkLst>
        </pc:spChg>
        <pc:spChg chg="mod">
          <ac:chgData name="Леонид Попов" userId="cc02b5965c9bae3b" providerId="LiveId" clId="{FDA48A03-3131-4F2F-A306-07301C63E802}" dt="2020-10-25T15:01:04.536" v="10761" actId="208"/>
          <ac:spMkLst>
            <pc:docMk/>
            <pc:sldMk cId="1785321096" sldId="2713"/>
            <ac:spMk id="9" creationId="{1C686AC7-04A7-4844-B3BC-C2DA3007B9E1}"/>
          </ac:spMkLst>
        </pc:spChg>
        <pc:spChg chg="mod">
          <ac:chgData name="Леонид Попов" userId="cc02b5965c9bae3b" providerId="LiveId" clId="{FDA48A03-3131-4F2F-A306-07301C63E802}" dt="2020-10-24T17:28:25.079" v="10352" actId="165"/>
          <ac:spMkLst>
            <pc:docMk/>
            <pc:sldMk cId="1785321096" sldId="2713"/>
            <ac:spMk id="10" creationId="{2091944C-5359-4232-8353-F5081D095CFA}"/>
          </ac:spMkLst>
        </pc:spChg>
        <pc:spChg chg="mod">
          <ac:chgData name="Леонид Попов" userId="cc02b5965c9bae3b" providerId="LiveId" clId="{FDA48A03-3131-4F2F-A306-07301C63E802}" dt="2020-10-25T15:00:30.157" v="10757" actId="207"/>
          <ac:spMkLst>
            <pc:docMk/>
            <pc:sldMk cId="1785321096" sldId="2713"/>
            <ac:spMk id="11" creationId="{5A661BD2-1F12-4EA9-A868-FAAE45A4FD81}"/>
          </ac:spMkLst>
        </pc:spChg>
        <pc:spChg chg="mod">
          <ac:chgData name="Леонид Попов" userId="cc02b5965c9bae3b" providerId="LiveId" clId="{FDA48A03-3131-4F2F-A306-07301C63E802}" dt="2020-10-25T15:00:44.889" v="10759" actId="208"/>
          <ac:spMkLst>
            <pc:docMk/>
            <pc:sldMk cId="1785321096" sldId="2713"/>
            <ac:spMk id="12" creationId="{D85D0618-F7FC-4ABF-B24A-687942546D22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4" creationId="{9410AAA1-D1BA-47F0-8916-EA878E6760CE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5" creationId="{95218DD5-C76A-4462-8F9F-A196C024F751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8" creationId="{96F6AB18-537B-4EB7-8DA4-93C80ACD77E9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19" creationId="{AA167B3B-BB2D-47A9-BAA6-6F48C0AB3BA3}"/>
          </ac:spMkLst>
        </pc:spChg>
        <pc:spChg chg="mod">
          <ac:chgData name="Леонид Попов" userId="cc02b5965c9bae3b" providerId="LiveId" clId="{FDA48A03-3131-4F2F-A306-07301C63E802}" dt="2020-10-24T17:13:47.588" v="10247"/>
          <ac:spMkLst>
            <pc:docMk/>
            <pc:sldMk cId="1785321096" sldId="2713"/>
            <ac:spMk id="20" creationId="{04BFC481-C540-40A1-AA9D-E0DB271C478F}"/>
          </ac:spMkLst>
        </pc:spChg>
        <pc:spChg chg="mod">
          <ac:chgData name="Леонид Попов" userId="cc02b5965c9bae3b" providerId="LiveId" clId="{FDA48A03-3131-4F2F-A306-07301C63E802}" dt="2020-10-24T17:16:17.761" v="10281" actId="14100"/>
          <ac:spMkLst>
            <pc:docMk/>
            <pc:sldMk cId="1785321096" sldId="2713"/>
            <ac:spMk id="22" creationId="{A1178B7C-F452-4D19-8C2E-B4AE7EB4DA1A}"/>
          </ac:spMkLst>
        </pc:spChg>
        <pc:spChg chg="add mod">
          <ac:chgData name="Леонид Попов" userId="cc02b5965c9bae3b" providerId="LiveId" clId="{FDA48A03-3131-4F2F-A306-07301C63E802}" dt="2020-10-25T16:53:21.891" v="16624" actId="164"/>
          <ac:spMkLst>
            <pc:docMk/>
            <pc:sldMk cId="1785321096" sldId="2713"/>
            <ac:spMk id="23" creationId="{071E34F3-FEF8-402F-B421-1AB4A622FA9E}"/>
          </ac:spMkLst>
        </pc:spChg>
        <pc:spChg chg="mod">
          <ac:chgData name="Леонид Попов" userId="cc02b5965c9bae3b" providerId="LiveId" clId="{FDA48A03-3131-4F2F-A306-07301C63E802}" dt="2020-10-24T17:16:10.873" v="10279" actId="1076"/>
          <ac:spMkLst>
            <pc:docMk/>
            <pc:sldMk cId="1785321096" sldId="2713"/>
            <ac:spMk id="23" creationId="{0FC236C7-AB56-4D28-8213-358229AA82F9}"/>
          </ac:spMkLst>
        </pc:spChg>
        <pc:spChg chg="mod">
          <ac:chgData name="Леонид Попов" userId="cc02b5965c9bae3b" providerId="LiveId" clId="{FDA48A03-3131-4F2F-A306-07301C63E802}" dt="2020-10-24T17:16:44.320" v="10296" actId="1038"/>
          <ac:spMkLst>
            <pc:docMk/>
            <pc:sldMk cId="1785321096" sldId="2713"/>
            <ac:spMk id="24" creationId="{B36E900D-2FBA-4A3E-8B5D-1FA04D4024A8}"/>
          </ac:spMkLst>
        </pc:spChg>
        <pc:spChg chg="add del mod">
          <ac:chgData name="Леонид Попов" userId="cc02b5965c9bae3b" providerId="LiveId" clId="{FDA48A03-3131-4F2F-A306-07301C63E802}" dt="2020-10-24T17:22:23.164" v="10301" actId="478"/>
          <ac:spMkLst>
            <pc:docMk/>
            <pc:sldMk cId="1785321096" sldId="2713"/>
            <ac:spMk id="25" creationId="{04E97044-DA36-4C86-A683-56E5F9697A9B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6" creationId="{82493BE1-C2F5-47C8-8012-16B8FD52208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7" creationId="{1074B261-4A50-4E48-B3AE-A092B1EF5966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8" creationId="{B26A8FFC-D4B2-4FC2-8E6F-0768B03B44A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29" creationId="{BC3184C9-B014-43B0-9353-E270E6151123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0" creationId="{91ACB16C-D05F-432B-A47D-FEC25B6B3638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1" creationId="{86C638D2-12C0-4191-B04A-7DAA3FB68CEF}"/>
          </ac:spMkLst>
        </pc:spChg>
        <pc:spChg chg="add mod">
          <ac:chgData name="Леонид Попов" userId="cc02b5965c9bae3b" providerId="LiveId" clId="{FDA48A03-3131-4F2F-A306-07301C63E802}" dt="2020-10-25T16:52:28.216" v="16615" actId="1038"/>
          <ac:spMkLst>
            <pc:docMk/>
            <pc:sldMk cId="1785321096" sldId="2713"/>
            <ac:spMk id="32" creationId="{912034F7-B750-400A-90AF-53FB0A6068FC}"/>
          </ac:spMkLst>
        </pc:spChg>
        <pc:grpChg chg="add mod">
          <ac:chgData name="Леонид Попов" userId="cc02b5965c9bae3b" providerId="LiveId" clId="{FDA48A03-3131-4F2F-A306-07301C63E802}" dt="2020-10-25T16:52:39.735" v="16623" actId="1037"/>
          <ac:grpSpMkLst>
            <pc:docMk/>
            <pc:sldMk cId="1785321096" sldId="2713"/>
            <ac:grpSpMk id="2" creationId="{341B1789-3F25-4C95-B142-9FEFC5A48251}"/>
          </ac:grpSpMkLst>
        </pc:grpChg>
        <pc:grpChg chg="add del mod">
          <ac:chgData name="Леонид Попов" userId="cc02b5965c9bae3b" providerId="LiveId" clId="{FDA48A03-3131-4F2F-A306-07301C63E802}" dt="2020-10-24T17:28:25.079" v="10352" actId="165"/>
          <ac:grpSpMkLst>
            <pc:docMk/>
            <pc:sldMk cId="1785321096" sldId="2713"/>
            <ac:grpSpMk id="4" creationId="{513EF93B-AE0C-435E-ADEB-6A84A68B9273}"/>
          </ac:grpSpMkLst>
        </pc:grpChg>
        <pc:grpChg chg="mod topLvl">
          <ac:chgData name="Леонид Попов" userId="cc02b5965c9bae3b" providerId="LiveId" clId="{FDA48A03-3131-4F2F-A306-07301C63E802}" dt="2020-10-25T15:00:56.683" v="10760" actId="164"/>
          <ac:grpSpMkLst>
            <pc:docMk/>
            <pc:sldMk cId="1785321096" sldId="2713"/>
            <ac:grpSpMk id="7" creationId="{12453CF8-7448-4532-9FA9-2535178AA80C}"/>
          </ac:grpSpMkLst>
        </pc:grpChg>
        <pc:grpChg chg="add mod">
          <ac:chgData name="Леонид Попов" userId="cc02b5965c9bae3b" providerId="LiveId" clId="{FDA48A03-3131-4F2F-A306-07301C63E802}" dt="2020-10-25T16:52:28.216" v="16615" actId="1038"/>
          <ac:grpSpMkLst>
            <pc:docMk/>
            <pc:sldMk cId="1785321096" sldId="2713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6:53:26.451" v="16625" actId="1076"/>
          <ac:grpSpMkLst>
            <pc:docMk/>
            <pc:sldMk cId="1785321096" sldId="2713"/>
            <ac:grpSpMk id="17" creationId="{C06B78C8-1A39-4D79-96B0-BA49318DF445}"/>
          </ac:grpSpMkLst>
        </pc:grpChg>
        <pc:grpChg chg="add del mod">
          <ac:chgData name="Леонид Попов" userId="cc02b5965c9bae3b" providerId="LiveId" clId="{FDA48A03-3131-4F2F-A306-07301C63E802}" dt="2020-10-24T17:14:06.019" v="10266" actId="478"/>
          <ac:grpSpMkLst>
            <pc:docMk/>
            <pc:sldMk cId="1785321096" sldId="2713"/>
            <ac:grpSpMk id="17" creationId="{D12E3900-D1C8-44A2-939A-BDDE40F2B63C}"/>
          </ac:grpSpMkLst>
        </pc:grpChg>
        <pc:grpChg chg="add del mod">
          <ac:chgData name="Леонид Попов" userId="cc02b5965c9bae3b" providerId="LiveId" clId="{FDA48A03-3131-4F2F-A306-07301C63E802}" dt="2020-10-24T17:21:42.976" v="10297" actId="478"/>
          <ac:grpSpMkLst>
            <pc:docMk/>
            <pc:sldMk cId="1785321096" sldId="2713"/>
            <ac:grpSpMk id="21" creationId="{1F6521A8-C0F6-48FE-A7D1-6F78599E8F21}"/>
          </ac:grpSpMkLst>
        </pc:grpChg>
        <pc:graphicFrameChg chg="add mod">
          <ac:chgData name="Леонид Попов" userId="cc02b5965c9bae3b" providerId="LiveId" clId="{FDA48A03-3131-4F2F-A306-07301C63E802}" dt="2020-10-25T16:52:28.216" v="16615" actId="1038"/>
          <ac:graphicFrameMkLst>
            <pc:docMk/>
            <pc:sldMk cId="1785321096" sldId="2713"/>
            <ac:graphicFrameMk id="16" creationId="{6912F192-9A87-4110-933D-53B0B6044358}"/>
          </ac:graphicFrameMkLst>
        </pc:graphicFrameChg>
      </pc:sldChg>
      <pc:sldChg chg="addSp delSp modSp add del mod modNotesTx">
        <pc:chgData name="Леонид Попов" userId="cc02b5965c9bae3b" providerId="LiveId" clId="{FDA48A03-3131-4F2F-A306-07301C63E802}" dt="2020-10-25T17:00:13.329" v="17660" actId="2696"/>
        <pc:sldMkLst>
          <pc:docMk/>
          <pc:sldMk cId="1399880721" sldId="2714"/>
        </pc:sldMkLst>
        <pc:spChg chg="mod">
          <ac:chgData name="Леонид Попов" userId="cc02b5965c9bae3b" providerId="LiveId" clId="{FDA48A03-3131-4F2F-A306-07301C63E802}" dt="2020-10-25T16:01:14.295" v="15122" actId="6549"/>
          <ac:spMkLst>
            <pc:docMk/>
            <pc:sldMk cId="1399880721" sldId="2714"/>
            <ac:spMk id="3" creationId="{ECCBC75B-19ED-445F-BDC5-F376143368F5}"/>
          </ac:spMkLst>
        </pc:spChg>
        <pc:spChg chg="add del">
          <ac:chgData name="Леонид Попов" userId="cc02b5965c9bae3b" providerId="LiveId" clId="{FDA48A03-3131-4F2F-A306-07301C63E802}" dt="2020-10-25T15:57:41.257" v="15031" actId="22"/>
          <ac:spMkLst>
            <pc:docMk/>
            <pc:sldMk cId="1399880721" sldId="2714"/>
            <ac:spMk id="4" creationId="{815544D2-BF0A-4937-8C46-E2AC6BA383C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8" creationId="{A5D28B67-A8A9-4B73-9237-204003AB1E00}"/>
          </ac:spMkLst>
        </pc:spChg>
        <pc:spChg chg="add del mod">
          <ac:chgData name="Леонид Попов" userId="cc02b5965c9bae3b" providerId="LiveId" clId="{FDA48A03-3131-4F2F-A306-07301C63E802}" dt="2020-10-25T16:50:42.276" v="16555" actId="21"/>
          <ac:spMkLst>
            <pc:docMk/>
            <pc:sldMk cId="1399880721" sldId="2714"/>
            <ac:spMk id="18" creationId="{F47476B3-EAC4-4A27-AD8A-3BCBE67FF875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25" creationId="{7AD1D3B1-164C-4CBF-B906-7D4CDDE87F30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6" creationId="{82493BE1-C2F5-47C8-8012-16B8FD52208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7" creationId="{1074B261-4A50-4E48-B3AE-A092B1EF5966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8" creationId="{B26A8FFC-D4B2-4FC2-8E6F-0768B03B44A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29" creationId="{BC3184C9-B014-43B0-9353-E270E6151123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0" creationId="{91ACB16C-D05F-432B-A47D-FEC25B6B3638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1" creationId="{86C638D2-12C0-4191-B04A-7DAA3FB68CEF}"/>
          </ac:spMkLst>
        </pc:spChg>
        <pc:spChg chg="del">
          <ac:chgData name="Леонид Попов" userId="cc02b5965c9bae3b" providerId="LiveId" clId="{FDA48A03-3131-4F2F-A306-07301C63E802}" dt="2020-10-25T15:55:58.035" v="15015" actId="478"/>
          <ac:spMkLst>
            <pc:docMk/>
            <pc:sldMk cId="1399880721" sldId="2714"/>
            <ac:spMk id="32" creationId="{912034F7-B750-400A-90AF-53FB0A6068F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3" creationId="{B56307EC-FD9F-4028-8B3A-B3E8A0A7EE20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4" creationId="{6DB50D51-B198-4C27-92FB-091ACE0DC55F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5" creationId="{EA71266F-9487-4137-913D-DEC96668DCAC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6" creationId="{B2AB15F5-0CD8-4E8F-A0E4-609F9EC84DDD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7" creationId="{ECE13DAB-AADB-46FA-A2F7-3739BF3A3724}"/>
          </ac:spMkLst>
        </pc:spChg>
        <pc:spChg chg="mod">
          <ac:chgData name="Леонид Попов" userId="cc02b5965c9bae3b" providerId="LiveId" clId="{FDA48A03-3131-4F2F-A306-07301C63E802}" dt="2020-10-25T15:55:58.808" v="15016"/>
          <ac:spMkLst>
            <pc:docMk/>
            <pc:sldMk cId="1399880721" sldId="2714"/>
            <ac:spMk id="38" creationId="{30BE260C-5C5B-4208-90B4-5835A278379F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39" creationId="{E0D568B5-6F52-401F-B109-76C0C635D7EE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0" creationId="{EF27BF9B-EF57-41B4-9EC2-DCAB5866A857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1" creationId="{E57529F1-AA5F-438D-A398-223A1C503F22}"/>
          </ac:spMkLst>
        </pc:spChg>
        <pc:spChg chg="add del mod">
          <ac:chgData name="Леонид Попов" userId="cc02b5965c9bae3b" providerId="LiveId" clId="{FDA48A03-3131-4F2F-A306-07301C63E802}" dt="2020-10-25T15:56:00.653" v="15017"/>
          <ac:spMkLst>
            <pc:docMk/>
            <pc:sldMk cId="1399880721" sldId="2714"/>
            <ac:spMk id="45" creationId="{191D8650-2065-4855-A07F-4661D12654F1}"/>
          </ac:spMkLst>
        </pc:spChg>
        <pc:spChg chg="del mod topLvl">
          <ac:chgData name="Леонид Попов" userId="cc02b5965c9bae3b" providerId="LiveId" clId="{FDA48A03-3131-4F2F-A306-07301C63E802}" dt="2020-10-25T15:56:19.639" v="15021" actId="478"/>
          <ac:spMkLst>
            <pc:docMk/>
            <pc:sldMk cId="1399880721" sldId="2714"/>
            <ac:spMk id="48" creationId="{2C67704D-05A2-4266-B16B-35CF75E50149}"/>
          </ac:spMkLst>
        </pc:spChg>
        <pc:spChg chg="del mod topLvl">
          <ac:chgData name="Леонид Попов" userId="cc02b5965c9bae3b" providerId="LiveId" clId="{FDA48A03-3131-4F2F-A306-07301C63E802}" dt="2020-10-25T15:56:25.511" v="15022" actId="478"/>
          <ac:spMkLst>
            <pc:docMk/>
            <pc:sldMk cId="1399880721" sldId="2714"/>
            <ac:spMk id="49" creationId="{24BFC110-8B4D-4B87-959F-02C6CE19932B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0" creationId="{DE1721D3-7C1A-4EE6-A075-3A43ECED420D}"/>
          </ac:spMkLst>
        </pc:spChg>
        <pc:spChg chg="mod topLvl">
          <ac:chgData name="Леонид Попов" userId="cc02b5965c9bae3b" providerId="LiveId" clId="{FDA48A03-3131-4F2F-A306-07301C63E802}" dt="2020-10-25T15:58:37.072" v="15044" actId="164"/>
          <ac:spMkLst>
            <pc:docMk/>
            <pc:sldMk cId="1399880721" sldId="2714"/>
            <ac:spMk id="51" creationId="{C49E547C-B062-4C0A-887B-A39FD2CB90D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2" creationId="{FD463738-489B-40EF-A676-D8D4E1B72D59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3" creationId="{29A8CBF4-0C64-463C-9598-8515AF3EC3DF}"/>
          </ac:spMkLst>
        </pc:spChg>
        <pc:spChg chg="mod">
          <ac:chgData name="Леонид Попов" userId="cc02b5965c9bae3b" providerId="LiveId" clId="{FDA48A03-3131-4F2F-A306-07301C63E802}" dt="2020-10-25T15:56:17.073" v="15020" actId="165"/>
          <ac:spMkLst>
            <pc:docMk/>
            <pc:sldMk cId="1399880721" sldId="2714"/>
            <ac:spMk id="54" creationId="{C6100307-3966-410C-A9A7-D08D3603CBF2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5" creationId="{56A7FE12-777F-4372-B3CA-38B2D930D41B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6" creationId="{9154A79B-F7B2-4A10-9D09-0A7C608FCD4F}"/>
          </ac:spMkLst>
        </pc:spChg>
        <pc:spChg chg="add mod">
          <ac:chgData name="Леонид Попов" userId="cc02b5965c9bae3b" providerId="LiveId" clId="{FDA48A03-3131-4F2F-A306-07301C63E802}" dt="2020-10-25T15:57:01.830" v="15029" actId="1076"/>
          <ac:spMkLst>
            <pc:docMk/>
            <pc:sldMk cId="1399880721" sldId="2714"/>
            <ac:spMk id="57" creationId="{EB68A1CE-4EB2-4AFD-B85D-73A14C8D1191}"/>
          </ac:spMkLst>
        </pc:spChg>
        <pc:spChg chg="add del mod">
          <ac:chgData name="Леонид Попов" userId="cc02b5965c9bae3b" providerId="LiveId" clId="{FDA48A03-3131-4F2F-A306-07301C63E802}" dt="2020-10-25T15:56:30.186" v="15023" actId="478"/>
          <ac:spMkLst>
            <pc:docMk/>
            <pc:sldMk cId="1399880721" sldId="2714"/>
            <ac:spMk id="61" creationId="{781DC684-135B-4B2A-B4D0-D852A5179E13}"/>
          </ac:spMkLst>
        </pc:spChg>
        <pc:spChg chg="add del mod">
          <ac:chgData name="Леонид Попов" userId="cc02b5965c9bae3b" providerId="LiveId" clId="{FDA48A03-3131-4F2F-A306-07301C63E802}" dt="2020-10-25T16:01:40.444" v="15123" actId="478"/>
          <ac:spMkLst>
            <pc:docMk/>
            <pc:sldMk cId="1399880721" sldId="2714"/>
            <ac:spMk id="63" creationId="{2D2D3198-BEAB-4684-B8CC-8457F8853739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5" creationId="{81C98A65-08A2-4B8C-BC0D-90D6461A7851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6" creationId="{43279150-5A19-48F7-8E47-6307149D4C3D}"/>
          </ac:spMkLst>
        </pc:spChg>
        <pc:spChg chg="mod">
          <ac:chgData name="Леонид Попов" userId="cc02b5965c9bae3b" providerId="LiveId" clId="{FDA48A03-3131-4F2F-A306-07301C63E802}" dt="2020-10-25T16:02:50.430" v="15208"/>
          <ac:spMkLst>
            <pc:docMk/>
            <pc:sldMk cId="1399880721" sldId="2714"/>
            <ac:spMk id="67" creationId="{370CFC2B-C32E-4C1D-97F5-76491E879B83}"/>
          </ac:spMkLst>
        </pc:s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2" creationId="{341B1789-3F25-4C95-B142-9FEFC5A48251}"/>
          </ac:grpSpMkLst>
        </pc:grpChg>
        <pc:grpChg chg="del">
          <ac:chgData name="Леонид Попов" userId="cc02b5965c9bae3b" providerId="LiveId" clId="{FDA48A03-3131-4F2F-A306-07301C63E802}" dt="2020-10-25T15:55:58.035" v="15015" actId="478"/>
          <ac:grpSpMkLst>
            <pc:docMk/>
            <pc:sldMk cId="1399880721" sldId="2714"/>
            <ac:grpSpMk id="13" creationId="{F2423BF2-E19F-4122-AB58-F2C248D70B0D}"/>
          </ac:grpSpMkLst>
        </pc:grpChg>
        <pc:grpChg chg="add mod">
          <ac:chgData name="Леонид Попов" userId="cc02b5965c9bae3b" providerId="LiveId" clId="{FDA48A03-3131-4F2F-A306-07301C63E802}" dt="2020-10-25T15:58:37.072" v="15044" actId="164"/>
          <ac:grpSpMkLst>
            <pc:docMk/>
            <pc:sldMk cId="1399880721" sldId="2714"/>
            <ac:grpSpMk id="17" creationId="{9EF2F710-595D-4B65-AD87-10D2A3AD881F}"/>
          </ac:grpSpMkLst>
        </pc:grpChg>
        <pc:grpChg chg="add del mod">
          <ac:chgData name="Леонид Попов" userId="cc02b5965c9bae3b" providerId="LiveId" clId="{FDA48A03-3131-4F2F-A306-07301C63E802}" dt="2020-10-25T15:56:00.653" v="15017"/>
          <ac:grpSpMkLst>
            <pc:docMk/>
            <pc:sldMk cId="1399880721" sldId="2714"/>
            <ac:grpSpMk id="23" creationId="{5049BAD4-0489-40F5-938E-548E45613CB5}"/>
          </ac:grpSpMkLst>
        </pc:grpChg>
        <pc:grpChg chg="mod">
          <ac:chgData name="Леонид Попов" userId="cc02b5965c9bae3b" providerId="LiveId" clId="{FDA48A03-3131-4F2F-A306-07301C63E802}" dt="2020-10-25T15:55:58.808" v="15016"/>
          <ac:grpSpMkLst>
            <pc:docMk/>
            <pc:sldMk cId="1399880721" sldId="2714"/>
            <ac:grpSpMk id="24" creationId="{F4BF69C3-BA43-4B69-82A3-B23FD83B7DAA}"/>
          </ac:grpSpMkLst>
        </pc:grpChg>
        <pc:grpChg chg="add del mod">
          <ac:chgData name="Леонид Попов" userId="cc02b5965c9bae3b" providerId="LiveId" clId="{FDA48A03-3131-4F2F-A306-07301C63E802}" dt="2020-10-25T15:56:17.073" v="15020" actId="165"/>
          <ac:grpSpMkLst>
            <pc:docMk/>
            <pc:sldMk cId="1399880721" sldId="2714"/>
            <ac:grpSpMk id="46" creationId="{40A41937-AA5A-4C98-88C1-9F3DDCD5354B}"/>
          </ac:grpSpMkLst>
        </pc:grpChg>
        <pc:grpChg chg="del mod topLvl">
          <ac:chgData name="Леонид Попов" userId="cc02b5965c9bae3b" providerId="LiveId" clId="{FDA48A03-3131-4F2F-A306-07301C63E802}" dt="2020-10-25T15:56:19.639" v="15021" actId="478"/>
          <ac:grpSpMkLst>
            <pc:docMk/>
            <pc:sldMk cId="1399880721" sldId="2714"/>
            <ac:grpSpMk id="47" creationId="{5B234E33-F222-4964-B390-3C37D5B415C8}"/>
          </ac:grpSpMkLst>
        </pc:grpChg>
        <pc:grpChg chg="add mod">
          <ac:chgData name="Леонид Попов" userId="cc02b5965c9bae3b" providerId="LiveId" clId="{FDA48A03-3131-4F2F-A306-07301C63E802}" dt="2020-10-25T16:02:50.430" v="15208"/>
          <ac:grpSpMkLst>
            <pc:docMk/>
            <pc:sldMk cId="1399880721" sldId="2714"/>
            <ac:grpSpMk id="64" creationId="{BA1A7FED-1B32-438D-AB56-0FA93E52ECDB}"/>
          </ac:grpSpMkLst>
        </pc:grpChg>
        <pc:graphicFrameChg chg="del">
          <ac:chgData name="Леонид Попов" userId="cc02b5965c9bae3b" providerId="LiveId" clId="{FDA48A03-3131-4F2F-A306-07301C63E802}" dt="2020-10-25T15:55:58.035" v="15015" actId="478"/>
          <ac:graphicFrameMkLst>
            <pc:docMk/>
            <pc:sldMk cId="1399880721" sldId="2714"/>
            <ac:graphicFrameMk id="16" creationId="{6912F192-9A87-4110-933D-53B0B6044358}"/>
          </ac:graphicFrameMkLst>
        </pc:graphicFrame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2" creationId="{5AA83510-870E-4EFF-9C86-76ACB3C8D50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3" creationId="{3CC70F76-2E4E-4AD1-A927-3038286A5E7C}"/>
          </ac:cxnSpMkLst>
        </pc:cxnChg>
        <pc:cxnChg chg="add del mod">
          <ac:chgData name="Леонид Попов" userId="cc02b5965c9bae3b" providerId="LiveId" clId="{FDA48A03-3131-4F2F-A306-07301C63E802}" dt="2020-10-25T15:56:00.653" v="15017"/>
          <ac:cxnSpMkLst>
            <pc:docMk/>
            <pc:sldMk cId="1399880721" sldId="2714"/>
            <ac:cxnSpMk id="44" creationId="{598111B7-C513-44D6-ACCD-036AC822A6A9}"/>
          </ac:cxnSpMkLst>
        </pc:cxnChg>
        <pc:cxnChg chg="add del mod">
          <ac:chgData name="Леонид Попов" userId="cc02b5965c9bae3b" providerId="LiveId" clId="{FDA48A03-3131-4F2F-A306-07301C63E802}" dt="2020-10-25T15:56:50.750" v="15026" actId="478"/>
          <ac:cxnSpMkLst>
            <pc:docMk/>
            <pc:sldMk cId="1399880721" sldId="2714"/>
            <ac:cxnSpMk id="58" creationId="{60AB3BAC-DEE8-4EC5-867E-2BAD1628CF06}"/>
          </ac:cxnSpMkLst>
        </pc:cxnChg>
        <pc:cxnChg chg="add del mod">
          <ac:chgData name="Леонид Попов" userId="cc02b5965c9bae3b" providerId="LiveId" clId="{FDA48A03-3131-4F2F-A306-07301C63E802}" dt="2020-10-25T15:56:51.873" v="15027" actId="478"/>
          <ac:cxnSpMkLst>
            <pc:docMk/>
            <pc:sldMk cId="1399880721" sldId="2714"/>
            <ac:cxnSpMk id="59" creationId="{07D94A37-E80D-4545-A8E0-7341442FF48E}"/>
          </ac:cxnSpMkLst>
        </pc:cxnChg>
        <pc:cxnChg chg="add del mod">
          <ac:chgData name="Леонид Попов" userId="cc02b5965c9bae3b" providerId="LiveId" clId="{FDA48A03-3131-4F2F-A306-07301C63E802}" dt="2020-10-25T15:56:52.750" v="15028" actId="478"/>
          <ac:cxnSpMkLst>
            <pc:docMk/>
            <pc:sldMk cId="1399880721" sldId="2714"/>
            <ac:cxnSpMk id="60" creationId="{3E41AED0-6F29-4EF8-BC44-8957200031B1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10:27.174" v="21882" actId="20577"/>
        <pc:sldMkLst>
          <pc:docMk/>
          <pc:sldMk cId="1800269486" sldId="2715"/>
        </pc:sldMkLst>
        <pc:spChg chg="mod">
          <ac:chgData name="Леонид Попов" userId="cc02b5965c9bae3b" providerId="LiveId" clId="{FDA48A03-3131-4F2F-A306-07301C63E802}" dt="2020-10-25T16:01:56.065" v="15160" actId="20577"/>
          <ac:spMkLst>
            <pc:docMk/>
            <pc:sldMk cId="1800269486" sldId="2715"/>
            <ac:spMk id="3" creationId="{ECCBC75B-19ED-445F-BDC5-F376143368F5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5" creationId="{56A7FE12-777F-4372-B3CA-38B2D930D41B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6" creationId="{9154A79B-F7B2-4A10-9D09-0A7C608FCD4F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57" creationId="{EB68A1CE-4EB2-4AFD-B85D-73A14C8D1191}"/>
          </ac:spMkLst>
        </pc:spChg>
        <pc:spChg chg="del">
          <ac:chgData name="Леонид Попов" userId="cc02b5965c9bae3b" providerId="LiveId" clId="{FDA48A03-3131-4F2F-A306-07301C63E802}" dt="2020-10-25T15:59:29.984" v="15047" actId="478"/>
          <ac:spMkLst>
            <pc:docMk/>
            <pc:sldMk cId="1800269486" sldId="2715"/>
            <ac:spMk id="63" creationId="{2D2D3198-BEAB-4684-B8CC-8457F8853739}"/>
          </ac:spMkLst>
        </pc:spChg>
        <pc:grpChg chg="del">
          <ac:chgData name="Леонид Попов" userId="cc02b5965c9bae3b" providerId="LiveId" clId="{FDA48A03-3131-4F2F-A306-07301C63E802}" dt="2020-10-25T15:59:29.984" v="15047" actId="478"/>
          <ac:grpSpMkLst>
            <pc:docMk/>
            <pc:sldMk cId="1800269486" sldId="2715"/>
            <ac:grpSpMk id="17" creationId="{9EF2F710-595D-4B65-AD87-10D2A3AD881F}"/>
          </ac:grpSpMkLst>
        </pc:grp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0" creationId="{1EA0C557-72FF-4BE5-A38D-8EDB41B24601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1" creationId="{A242E19D-F66B-4A29-9CAF-2D1FB21A89F2}"/>
          </ac:picMkLst>
        </pc:picChg>
        <pc:picChg chg="add mod">
          <ac:chgData name="Леонид Попов" userId="cc02b5965c9bae3b" providerId="LiveId" clId="{FDA48A03-3131-4F2F-A306-07301C63E802}" dt="2020-10-25T15:59:57.781" v="15073" actId="1036"/>
          <ac:picMkLst>
            <pc:docMk/>
            <pc:sldMk cId="1800269486" sldId="2715"/>
            <ac:picMk id="12" creationId="{73B963C8-EFC0-467A-85E9-FD331BAD2726}"/>
          </ac:picMkLst>
        </pc:picChg>
        <pc:cxnChg chg="add mod">
          <ac:chgData name="Леонид Попов" userId="cc02b5965c9bae3b" providerId="LiveId" clId="{FDA48A03-3131-4F2F-A306-07301C63E802}" dt="2020-10-25T15:59:57.781" v="15073" actId="1036"/>
          <ac:cxnSpMkLst>
            <pc:docMk/>
            <pc:sldMk cId="1800269486" sldId="2715"/>
            <ac:cxnSpMk id="13" creationId="{E6C3F399-2DF2-4D41-AF2B-CF6C0A000F27}"/>
          </ac:cxnSpMkLst>
        </pc:cxnChg>
      </pc:sldChg>
      <pc:sldChg chg="addSp delSp modSp add mod ord modNotesTx">
        <pc:chgData name="Леонид Попов" userId="cc02b5965c9bae3b" providerId="LiveId" clId="{FDA48A03-3131-4F2F-A306-07301C63E802}" dt="2020-10-25T18:53:20.970" v="22299" actId="20577"/>
        <pc:sldMkLst>
          <pc:docMk/>
          <pc:sldMk cId="4112451551" sldId="2716"/>
        </pc:sldMkLst>
        <pc:spChg chg="mod">
          <ac:chgData name="Леонид Попов" userId="cc02b5965c9bae3b" providerId="LiveId" clId="{FDA48A03-3131-4F2F-A306-07301C63E802}" dt="2020-10-25T18:06:02.213" v="21832" actId="20577"/>
          <ac:spMkLst>
            <pc:docMk/>
            <pc:sldMk cId="4112451551" sldId="2716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6" creationId="{E729B6D4-2AFB-4906-86E3-F7883CC79D58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9" creationId="{7848E7B9-C6B7-462B-8E3A-7D913A8575DF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1" creationId="{79F369D3-2102-4562-8646-A8C527452023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3" creationId="{5811B531-8260-4A38-818E-58F245053B34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4" creationId="{5BCE1A79-1955-4D53-8443-B86E9F7ABAE7}"/>
          </ac:spMkLst>
        </pc:spChg>
        <pc:spChg chg="del">
          <ac:chgData name="Леонид Попов" userId="cc02b5965c9bae3b" providerId="LiveId" clId="{FDA48A03-3131-4F2F-A306-07301C63E802}" dt="2020-10-25T17:39:55.363" v="21528" actId="478"/>
          <ac:spMkLst>
            <pc:docMk/>
            <pc:sldMk cId="4112451551" sldId="2716"/>
            <ac:spMk id="15" creationId="{76594CFE-C33C-431D-BFCC-08DE8E263AF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8" creationId="{E402E4CA-8A6A-4490-822A-4603F72B9B18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19" creationId="{E5E3FB86-2B92-44C5-84EF-0A54E7E2CAD7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1" creationId="{97AE4147-7BF3-46EC-A2DB-1E9EBF177951}"/>
          </ac:spMkLst>
        </pc:spChg>
        <pc:spChg chg="mod">
          <ac:chgData name="Леонид Попов" userId="cc02b5965c9bae3b" providerId="LiveId" clId="{FDA48A03-3131-4F2F-A306-07301C63E802}" dt="2020-10-25T17:39:56.034" v="21529"/>
          <ac:spMkLst>
            <pc:docMk/>
            <pc:sldMk cId="4112451551" sldId="2716"/>
            <ac:spMk id="22" creationId="{7E39E060-1371-4955-B02E-7C720DB4F241}"/>
          </ac:spMkLst>
        </pc:spChg>
        <pc:spChg chg="del mod topLvl">
          <ac:chgData name="Леонид Попов" userId="cc02b5965c9bae3b" providerId="LiveId" clId="{FDA48A03-3131-4F2F-A306-07301C63E802}" dt="2020-10-25T17:49:56.159" v="21670" actId="478"/>
          <ac:spMkLst>
            <pc:docMk/>
            <pc:sldMk cId="4112451551" sldId="2716"/>
            <ac:spMk id="25" creationId="{BA68F566-C815-45D9-9EFA-E30F5174EB73}"/>
          </ac:spMkLst>
        </pc:spChg>
        <pc:spChg chg="del mod topLvl">
          <ac:chgData name="Леонид Попов" userId="cc02b5965c9bae3b" providerId="LiveId" clId="{FDA48A03-3131-4F2F-A306-07301C63E802}" dt="2020-10-25T17:42:11.322" v="21593" actId="478"/>
          <ac:spMkLst>
            <pc:docMk/>
            <pc:sldMk cId="4112451551" sldId="2716"/>
            <ac:spMk id="26" creationId="{A2DFEE59-7D37-4790-8333-1C37CDAC0DE3}"/>
          </ac:spMkLst>
        </pc:spChg>
        <pc:spChg chg="mod">
          <ac:chgData name="Леонид Попов" userId="cc02b5965c9bae3b" providerId="LiveId" clId="{FDA48A03-3131-4F2F-A306-07301C63E802}" dt="2020-10-25T17:49:32.441" v="21668" actId="14100"/>
          <ac:spMkLst>
            <pc:docMk/>
            <pc:sldMk cId="4112451551" sldId="2716"/>
            <ac:spMk id="28" creationId="{47951E5C-4417-4254-94FC-B60C76C73661}"/>
          </ac:spMkLst>
        </pc:spChg>
        <pc:spChg chg="mod">
          <ac:chgData name="Леонид Попов" userId="cc02b5965c9bae3b" providerId="LiveId" clId="{FDA48A03-3131-4F2F-A306-07301C63E802}" dt="2020-10-25T17:42:00.515" v="21590" actId="20577"/>
          <ac:spMkLst>
            <pc:docMk/>
            <pc:sldMk cId="4112451551" sldId="2716"/>
            <ac:spMk id="29" creationId="{732EC201-985E-443C-B12C-DEFD622709F2}"/>
          </ac:spMkLst>
        </pc:s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17" creationId="{57E895BE-07F5-4ACC-97C6-B8F5437F0BB6}"/>
          </ac:grpSpMkLst>
        </pc:grpChg>
        <pc:grpChg chg="add del mod">
          <ac:chgData name="Леонид Попов" userId="cc02b5965c9bae3b" providerId="LiveId" clId="{FDA48A03-3131-4F2F-A306-07301C63E802}" dt="2020-10-25T17:40:02.424" v="21553"/>
          <ac:grpSpMkLst>
            <pc:docMk/>
            <pc:sldMk cId="4112451551" sldId="2716"/>
            <ac:grpSpMk id="20" creationId="{54DFC080-19C5-47C7-9AED-D2E897FDCB18}"/>
          </ac:grpSpMkLst>
        </pc:grpChg>
        <pc:grpChg chg="add del mod">
          <ac:chgData name="Леонид Попов" userId="cc02b5965c9bae3b" providerId="LiveId" clId="{FDA48A03-3131-4F2F-A306-07301C63E802}" dt="2020-10-25T17:40:58.773" v="21582" actId="165"/>
          <ac:grpSpMkLst>
            <pc:docMk/>
            <pc:sldMk cId="4112451551" sldId="2716"/>
            <ac:grpSpMk id="24" creationId="{A69721D0-A89A-43E4-9C20-300073D1D8F0}"/>
          </ac:grpSpMkLst>
        </pc:grpChg>
        <pc:grpChg chg="add mod">
          <ac:chgData name="Леонид Попов" userId="cc02b5965c9bae3b" providerId="LiveId" clId="{FDA48A03-3131-4F2F-A306-07301C63E802}" dt="2020-10-25T17:49:36.170" v="21669" actId="1076"/>
          <ac:grpSpMkLst>
            <pc:docMk/>
            <pc:sldMk cId="4112451551" sldId="2716"/>
            <ac:grpSpMk id="27" creationId="{4751EE0A-0EF7-4052-91BF-62B45F0823B8}"/>
          </ac:grpSpMkLst>
        </pc:grpChg>
        <pc:picChg chg="del">
          <ac:chgData name="Леонид Попов" userId="cc02b5965c9bae3b" providerId="LiveId" clId="{FDA48A03-3131-4F2F-A306-07301C63E802}" dt="2020-10-25T17:39:55.363" v="21528" actId="478"/>
          <ac:picMkLst>
            <pc:docMk/>
            <pc:sldMk cId="4112451551" sldId="2716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0:02.424" v="21553"/>
          <ac:picMkLst>
            <pc:docMk/>
            <pc:sldMk cId="4112451551" sldId="2716"/>
            <ac:picMk id="16" creationId="{69C858BD-89A8-4CAF-BA7B-B96D952A0D0E}"/>
          </ac:picMkLst>
        </pc:picChg>
        <pc:picChg chg="add mod">
          <ac:chgData name="Леонид Попов" userId="cc02b5965c9bae3b" providerId="LiveId" clId="{FDA48A03-3131-4F2F-A306-07301C63E802}" dt="2020-10-25T17:49:20.271" v="21666" actId="1036"/>
          <ac:picMkLst>
            <pc:docMk/>
            <pc:sldMk cId="4112451551" sldId="2716"/>
            <ac:picMk id="23" creationId="{8367FAC5-B91B-4A65-8D00-BBEE3781A414}"/>
          </ac:picMkLst>
        </pc:pic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8" creationId="{6B206BC4-9424-4956-A1B5-294F17591C5C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0" creationId="{67CBD7A9-37C8-4E4E-9D4A-103A2CB2423D}"/>
          </ac:cxnSpMkLst>
        </pc:cxnChg>
        <pc:cxnChg chg="del">
          <ac:chgData name="Леонид Попов" userId="cc02b5965c9bae3b" providerId="LiveId" clId="{FDA48A03-3131-4F2F-A306-07301C63E802}" dt="2020-10-25T17:39:55.363" v="21528" actId="478"/>
          <ac:cxnSpMkLst>
            <pc:docMk/>
            <pc:sldMk cId="4112451551" sldId="2716"/>
            <ac:cxnSpMk id="12" creationId="{C9135597-9A10-46F2-8530-DEEBC38EBD97}"/>
          </ac:cxnSpMkLst>
        </pc:cxnChg>
      </pc:sldChg>
      <pc:sldChg chg="addSp delSp modSp add mod modNotesTx">
        <pc:chgData name="Леонид Попов" userId="cc02b5965c9bae3b" providerId="LiveId" clId="{FDA48A03-3131-4F2F-A306-07301C63E802}" dt="2020-10-25T18:56:52.735" v="22636" actId="20577"/>
        <pc:sldMkLst>
          <pc:docMk/>
          <pc:sldMk cId="2717785047" sldId="2717"/>
        </pc:sldMkLst>
        <pc:spChg chg="mod">
          <ac:chgData name="Леонид Попов" userId="cc02b5965c9bae3b" providerId="LiveId" clId="{FDA48A03-3131-4F2F-A306-07301C63E802}" dt="2020-10-25T17:52:09.629" v="21695" actId="20577"/>
          <ac:spMkLst>
            <pc:docMk/>
            <pc:sldMk cId="2717785047" sldId="2717"/>
            <ac:spMk id="5" creationId="{68F6C310-34D7-4AB2-8D7D-EB0E5DD87498}"/>
          </ac:spMkLst>
        </pc:spChg>
        <pc:spChg chg="del">
          <ac:chgData name="Леонид Попов" userId="cc02b5965c9bae3b" providerId="LiveId" clId="{FDA48A03-3131-4F2F-A306-07301C63E802}" dt="2020-10-25T17:43:36.830" v="21606" actId="478"/>
          <ac:spMkLst>
            <pc:docMk/>
            <pc:sldMk cId="2717785047" sldId="2717"/>
            <ac:spMk id="25" creationId="{BA68F566-C815-45D9-9EFA-E30F5174EB73}"/>
          </ac:spMkLst>
        </pc:spChg>
        <pc:grpChg chg="del">
          <ac:chgData name="Леонид Попов" userId="cc02b5965c9bae3b" providerId="LiveId" clId="{FDA48A03-3131-4F2F-A306-07301C63E802}" dt="2020-10-25T17:43:34.009" v="21605" actId="478"/>
          <ac:grpSpMkLst>
            <pc:docMk/>
            <pc:sldMk cId="2717785047" sldId="2717"/>
            <ac:grpSpMk id="27" creationId="{4751EE0A-0EF7-4052-91BF-62B45F0823B8}"/>
          </ac:grpSpMkLst>
        </pc:grpChg>
        <pc:picChg chg="add mod">
          <ac:chgData name="Леонид Попов" userId="cc02b5965c9bae3b" providerId="LiveId" clId="{FDA48A03-3131-4F2F-A306-07301C63E802}" dt="2020-10-25T17:52:19.215" v="21698" actId="1076"/>
          <ac:picMkLst>
            <pc:docMk/>
            <pc:sldMk cId="2717785047" sldId="2717"/>
            <ac:picMk id="2" creationId="{D757561A-F686-4695-9E22-9464C654B65A}"/>
          </ac:picMkLst>
        </pc:picChg>
        <pc:picChg chg="del">
          <ac:chgData name="Леонид Попов" userId="cc02b5965c9bae3b" providerId="LiveId" clId="{FDA48A03-3131-4F2F-A306-07301C63E802}" dt="2020-10-25T17:43:34.009" v="21605" actId="478"/>
          <ac:picMkLst>
            <pc:docMk/>
            <pc:sldMk cId="2717785047" sldId="2717"/>
            <ac:picMk id="23" creationId="{8367FAC5-B91B-4A65-8D00-BBEE3781A414}"/>
          </ac:picMkLst>
        </pc:picChg>
      </pc:sldChg>
      <pc:sldChg chg="addSp delSp modSp add mod">
        <pc:chgData name="Леонид Попов" userId="cc02b5965c9bae3b" providerId="LiveId" clId="{FDA48A03-3131-4F2F-A306-07301C63E802}" dt="2020-10-25T17:45:49.771" v="21635" actId="1036"/>
        <pc:sldMkLst>
          <pc:docMk/>
          <pc:sldMk cId="4088160315" sldId="2718"/>
        </pc:sldMkLst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18" creationId="{6D206791-F6F8-41A5-A9C4-18B3E4A220F5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0" creationId="{5CD848AF-0242-489F-9675-EBC288C8B892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1" creationId="{4257C873-83FC-4804-A7E9-F5BB2DD679B8}"/>
          </ac:spMkLst>
        </pc:spChg>
        <pc:spChg chg="add del mod">
          <ac:chgData name="Леонид Попов" userId="cc02b5965c9bae3b" providerId="LiveId" clId="{FDA48A03-3131-4F2F-A306-07301C63E802}" dt="2020-10-25T17:45:42.458" v="21632"/>
          <ac:spMkLst>
            <pc:docMk/>
            <pc:sldMk cId="4088160315" sldId="2718"/>
            <ac:spMk id="22" creationId="{D4E6E46D-F95F-4C3C-A0C6-8B5D8BFDF34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5" creationId="{B512C7CD-E652-42AA-9D1F-CE39E410CB50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7" creationId="{FF5A9937-E88C-4994-AB32-80DEF45CCE99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8" creationId="{1A1DC564-82FA-46C0-A6B8-EE4120FD943D}"/>
          </ac:spMkLst>
        </pc:spChg>
        <pc:spChg chg="add mod">
          <ac:chgData name="Леонид Попов" userId="cc02b5965c9bae3b" providerId="LiveId" clId="{FDA48A03-3131-4F2F-A306-07301C63E802}" dt="2020-10-25T17:45:49.771" v="21635" actId="1036"/>
          <ac:spMkLst>
            <pc:docMk/>
            <pc:sldMk cId="4088160315" sldId="2718"/>
            <ac:spMk id="29" creationId="{0F0257E6-6C7D-4C07-8794-1EEF6B9DDA16}"/>
          </ac:spMkLst>
        </pc:spChg>
        <pc:picChg chg="del">
          <ac:chgData name="Леонид Попов" userId="cc02b5965c9bae3b" providerId="LiveId" clId="{FDA48A03-3131-4F2F-A306-07301C63E802}" dt="2020-10-25T17:45:15.275" v="21624" actId="478"/>
          <ac:picMkLst>
            <pc:docMk/>
            <pc:sldMk cId="4088160315" sldId="2718"/>
            <ac:picMk id="3" creationId="{CEDFC07A-6CA9-40D3-B9A5-07121A673676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6" creationId="{554266CB-DED2-4ACF-BE3A-706F57835EE0}"/>
          </ac:picMkLst>
        </pc:picChg>
        <pc:picChg chg="add del mod">
          <ac:chgData name="Леонид Попов" userId="cc02b5965c9bae3b" providerId="LiveId" clId="{FDA48A03-3131-4F2F-A306-07301C63E802}" dt="2020-10-25T17:45:42.458" v="21632"/>
          <ac:picMkLst>
            <pc:docMk/>
            <pc:sldMk cId="4088160315" sldId="2718"/>
            <ac:picMk id="17" creationId="{4A6F8A4D-54C1-4558-9D49-A89956CF0C71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3" creationId="{D43EF4BC-3679-429A-864D-D2E049FF621B}"/>
          </ac:picMkLst>
        </pc:picChg>
        <pc:picChg chg="add mod">
          <ac:chgData name="Леонид Попов" userId="cc02b5965c9bae3b" providerId="LiveId" clId="{FDA48A03-3131-4F2F-A306-07301C63E802}" dt="2020-10-25T17:45:49.771" v="21635" actId="1036"/>
          <ac:picMkLst>
            <pc:docMk/>
            <pc:sldMk cId="4088160315" sldId="2718"/>
            <ac:picMk id="24" creationId="{7A40D0C2-863B-4557-901C-078174BAFEF7}"/>
          </ac:picMkLst>
        </pc:picChg>
        <pc:cxnChg chg="add del mod">
          <ac:chgData name="Леонид Попов" userId="cc02b5965c9bae3b" providerId="LiveId" clId="{FDA48A03-3131-4F2F-A306-07301C63E802}" dt="2020-10-25T17:45:42.458" v="21632"/>
          <ac:cxnSpMkLst>
            <pc:docMk/>
            <pc:sldMk cId="4088160315" sldId="2718"/>
            <ac:cxnSpMk id="19" creationId="{6F27ABED-7EA8-4C4F-B328-BABB2229DD4F}"/>
          </ac:cxnSpMkLst>
        </pc:cxnChg>
        <pc:cxnChg chg="add mod">
          <ac:chgData name="Леонид Попов" userId="cc02b5965c9bae3b" providerId="LiveId" clId="{FDA48A03-3131-4F2F-A306-07301C63E802}" dt="2020-10-25T17:45:49.771" v="21635" actId="1036"/>
          <ac:cxnSpMkLst>
            <pc:docMk/>
            <pc:sldMk cId="4088160315" sldId="2718"/>
            <ac:cxnSpMk id="26" creationId="{E1FAD404-7211-42C6-AEF5-678AE078ABD6}"/>
          </ac:cxnSpMkLst>
        </pc:cxn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F42F8B9-0D9D-4448-8BCF-F327CBBFCE1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E6C517D8-84FA-404D-924E-384836B20A91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/>
            <a:t>Декларация по налогу на прибыль/3-НДФЛ</a:t>
          </a:r>
        </a:p>
      </dgm:t>
    </dgm:pt>
    <dgm:pt modelId="{D68C8842-3763-456B-B0C9-B3AC24AE74B2}" type="sibTrans" cxnId="{385D0B16-68A1-4152-A037-CE83E36405E2}">
      <dgm:prSet/>
      <dgm:spPr/>
      <dgm:t>
        <a:bodyPr/>
        <a:lstStyle/>
        <a:p>
          <a:endParaRPr lang="ru-RU"/>
        </a:p>
      </dgm:t>
    </dgm:pt>
    <dgm:pt modelId="{ABF21F93-4611-4C12-A9FF-EF670187F6EE}" type="parTrans" cxnId="{385D0B16-68A1-4152-A037-CE83E36405E2}">
      <dgm:prSet/>
      <dgm:spPr/>
      <dgm:t>
        <a:bodyPr/>
        <a:lstStyle/>
        <a:p>
          <a:endParaRPr lang="ru-RU"/>
        </a:p>
      </dgm:t>
    </dgm:pt>
    <dgm:pt modelId="{3C3BB1B0-ED3D-4B11-9C19-63717643C073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/>
            <a:t>Уведомление о КИК</a:t>
          </a:r>
        </a:p>
      </dgm:t>
    </dgm:pt>
    <dgm:pt modelId="{A85047DB-60D2-4A6A-9EB9-CB8DF754ADC2}" type="sibTrans" cxnId="{8AC43026-5648-4249-9045-D86900B352DC}">
      <dgm:prSet/>
      <dgm:spPr/>
      <dgm:t>
        <a:bodyPr/>
        <a:lstStyle/>
        <a:p>
          <a:endParaRPr lang="ru-RU"/>
        </a:p>
      </dgm:t>
    </dgm:pt>
    <dgm:pt modelId="{477DD1DB-E040-4563-B5AA-C41A0A9E52ED}" type="parTrans" cxnId="{8AC43026-5648-4249-9045-D86900B352DC}">
      <dgm:prSet/>
      <dgm:spPr/>
      <dgm:t>
        <a:bodyPr/>
        <a:lstStyle/>
        <a:p>
          <a:endParaRPr lang="ru-RU"/>
        </a:p>
      </dgm:t>
    </dgm:pt>
    <dgm:pt modelId="{1B3F69AD-FDA3-416C-9FE8-4F8C04FF26B2}">
      <dgm:prSet/>
      <dgm:spPr>
        <a:solidFill>
          <a:srgbClr val="FFC000"/>
        </a:solidFill>
      </dgm:spPr>
      <dgm:t>
        <a:bodyPr/>
        <a:lstStyle/>
        <a:p>
          <a:r>
            <a:rPr lang="ru-RU" dirty="0"/>
            <a:t>Уведомление об участии в иностранных организациях</a:t>
          </a:r>
        </a:p>
      </dgm:t>
    </dgm:pt>
    <dgm:pt modelId="{65FC87C4-BE86-4446-86E4-E7F12A059E98}" type="sibTrans" cxnId="{B3A891C9-6CD2-4205-A411-B320B61FA9BE}">
      <dgm:prSet/>
      <dgm:spPr/>
      <dgm:t>
        <a:bodyPr/>
        <a:lstStyle/>
        <a:p>
          <a:endParaRPr lang="ru-RU"/>
        </a:p>
      </dgm:t>
    </dgm:pt>
    <dgm:pt modelId="{18883702-4944-456A-A428-E8D2994431F0}" type="parTrans" cxnId="{B3A891C9-6CD2-4205-A411-B320B61FA9BE}">
      <dgm:prSet/>
      <dgm:spPr/>
      <dgm:t>
        <a:bodyPr/>
        <a:lstStyle/>
        <a:p>
          <a:endParaRPr lang="ru-RU"/>
        </a:p>
      </dgm:t>
    </dgm:pt>
    <dgm:pt modelId="{A9E1EC4F-5852-461E-83D3-C0EE3AC0BB06}">
      <dgm:prSet phldrT="[Текст]"/>
      <dgm:spPr>
        <a:solidFill>
          <a:srgbClr val="FFC000"/>
        </a:solidFill>
      </dgm:spPr>
      <dgm:t>
        <a:bodyPr/>
        <a:lstStyle/>
        <a:p>
          <a:r>
            <a:rPr lang="ru-RU" dirty="0"/>
            <a:t>Отражение операций приобретения/выбытия бизнеса</a:t>
          </a:r>
        </a:p>
      </dgm:t>
    </dgm:pt>
    <dgm:pt modelId="{91CC6DCF-8B7B-4F95-BE10-4870DCB6B803}" type="sibTrans" cxnId="{AD2D7317-CE86-495A-8071-C58FDDA62592}">
      <dgm:prSet/>
      <dgm:spPr/>
      <dgm:t>
        <a:bodyPr/>
        <a:lstStyle/>
        <a:p>
          <a:endParaRPr lang="ru-RU"/>
        </a:p>
      </dgm:t>
    </dgm:pt>
    <dgm:pt modelId="{D2491E45-8E7D-4C91-8332-63AE4A29E7A8}" type="parTrans" cxnId="{AD2D7317-CE86-495A-8071-C58FDDA62592}">
      <dgm:prSet/>
      <dgm:spPr/>
      <dgm:t>
        <a:bodyPr/>
        <a:lstStyle/>
        <a:p>
          <a:endParaRPr lang="ru-RU"/>
        </a:p>
      </dgm:t>
    </dgm:pt>
    <dgm:pt modelId="{7716C3A0-BBD8-4F5F-AA0F-F2E070834516}" type="pres">
      <dgm:prSet presAssocID="{7F42F8B9-0D9D-4448-8BCF-F327CBBFCE14}" presName="Name0" presStyleCnt="0">
        <dgm:presLayoutVars>
          <dgm:dir/>
          <dgm:resizeHandles val="exact"/>
        </dgm:presLayoutVars>
      </dgm:prSet>
      <dgm:spPr/>
    </dgm:pt>
    <dgm:pt modelId="{129142EC-7F2C-48F4-AAF1-BA24CF8135B3}" type="pres">
      <dgm:prSet presAssocID="{A9E1EC4F-5852-461E-83D3-C0EE3AC0BB06}" presName="parTxOnly" presStyleLbl="node1" presStyleIdx="0" presStyleCnt="4" custScaleY="68633" custLinFactNeighborY="-77566">
        <dgm:presLayoutVars>
          <dgm:bulletEnabled val="1"/>
        </dgm:presLayoutVars>
      </dgm:prSet>
      <dgm:spPr/>
    </dgm:pt>
    <dgm:pt modelId="{F01BB979-860A-4F29-8759-3660CF62A37B}" type="pres">
      <dgm:prSet presAssocID="{91CC6DCF-8B7B-4F95-BE10-4870DCB6B803}" presName="parSpace" presStyleCnt="0"/>
      <dgm:spPr/>
    </dgm:pt>
    <dgm:pt modelId="{D197CDE2-CEAD-4626-B396-F47AA2987AF6}" type="pres">
      <dgm:prSet presAssocID="{1B3F69AD-FDA3-416C-9FE8-4F8C04FF26B2}" presName="parTxOnly" presStyleLbl="node1" presStyleIdx="1" presStyleCnt="4" custScaleY="68633" custLinFactNeighborY="-77566">
        <dgm:presLayoutVars>
          <dgm:bulletEnabled val="1"/>
        </dgm:presLayoutVars>
      </dgm:prSet>
      <dgm:spPr/>
    </dgm:pt>
    <dgm:pt modelId="{F3F25F9D-B6C5-4AF1-8600-28757CCCC436}" type="pres">
      <dgm:prSet presAssocID="{65FC87C4-BE86-4446-86E4-E7F12A059E98}" presName="parSpace" presStyleCnt="0"/>
      <dgm:spPr/>
    </dgm:pt>
    <dgm:pt modelId="{9DF58581-A327-4722-9B8B-597B9B77859B}" type="pres">
      <dgm:prSet presAssocID="{3C3BB1B0-ED3D-4B11-9C19-63717643C073}" presName="parTxOnly" presStyleLbl="node1" presStyleIdx="2" presStyleCnt="4" custScaleY="68633" custLinFactNeighborY="-77566">
        <dgm:presLayoutVars>
          <dgm:bulletEnabled val="1"/>
        </dgm:presLayoutVars>
      </dgm:prSet>
      <dgm:spPr/>
    </dgm:pt>
    <dgm:pt modelId="{653E7861-7FE0-45B0-AC5B-5228BBB841C8}" type="pres">
      <dgm:prSet presAssocID="{A85047DB-60D2-4A6A-9EB9-CB8DF754ADC2}" presName="parSpace" presStyleCnt="0"/>
      <dgm:spPr/>
    </dgm:pt>
    <dgm:pt modelId="{6F0F07A8-23BC-46E4-9A76-4E43C9732AE7}" type="pres">
      <dgm:prSet presAssocID="{E6C517D8-84FA-404D-924E-384836B20A91}" presName="parTxOnly" presStyleLbl="node1" presStyleIdx="3" presStyleCnt="4" custScaleY="68633" custLinFactNeighborY="-77566">
        <dgm:presLayoutVars>
          <dgm:bulletEnabled val="1"/>
        </dgm:presLayoutVars>
      </dgm:prSet>
      <dgm:spPr/>
    </dgm:pt>
  </dgm:ptLst>
  <dgm:cxnLst>
    <dgm:cxn modelId="{1138C803-3919-405C-AF38-E75269EF7694}" type="presOf" srcId="{1B3F69AD-FDA3-416C-9FE8-4F8C04FF26B2}" destId="{D197CDE2-CEAD-4626-B396-F47AA2987AF6}" srcOrd="0" destOrd="0" presId="urn:microsoft.com/office/officeart/2005/8/layout/hChevron3"/>
    <dgm:cxn modelId="{385D0B16-68A1-4152-A037-CE83E36405E2}" srcId="{7F42F8B9-0D9D-4448-8BCF-F327CBBFCE14}" destId="{E6C517D8-84FA-404D-924E-384836B20A91}" srcOrd="3" destOrd="0" parTransId="{ABF21F93-4611-4C12-A9FF-EF670187F6EE}" sibTransId="{D68C8842-3763-456B-B0C9-B3AC24AE74B2}"/>
    <dgm:cxn modelId="{AD2D7317-CE86-495A-8071-C58FDDA62592}" srcId="{7F42F8B9-0D9D-4448-8BCF-F327CBBFCE14}" destId="{A9E1EC4F-5852-461E-83D3-C0EE3AC0BB06}" srcOrd="0" destOrd="0" parTransId="{D2491E45-8E7D-4C91-8332-63AE4A29E7A8}" sibTransId="{91CC6DCF-8B7B-4F95-BE10-4870DCB6B803}"/>
    <dgm:cxn modelId="{8AC43026-5648-4249-9045-D86900B352DC}" srcId="{7F42F8B9-0D9D-4448-8BCF-F327CBBFCE14}" destId="{3C3BB1B0-ED3D-4B11-9C19-63717643C073}" srcOrd="2" destOrd="0" parTransId="{477DD1DB-E040-4563-B5AA-C41A0A9E52ED}" sibTransId="{A85047DB-60D2-4A6A-9EB9-CB8DF754ADC2}"/>
    <dgm:cxn modelId="{88DBD9B9-B277-4CC3-B04E-4338C8020F0D}" type="presOf" srcId="{3C3BB1B0-ED3D-4B11-9C19-63717643C073}" destId="{9DF58581-A327-4722-9B8B-597B9B77859B}" srcOrd="0" destOrd="0" presId="urn:microsoft.com/office/officeart/2005/8/layout/hChevron3"/>
    <dgm:cxn modelId="{CD4AD5C4-F101-4D15-BF8D-B8D21D50C795}" type="presOf" srcId="{E6C517D8-84FA-404D-924E-384836B20A91}" destId="{6F0F07A8-23BC-46E4-9A76-4E43C9732AE7}" srcOrd="0" destOrd="0" presId="urn:microsoft.com/office/officeart/2005/8/layout/hChevron3"/>
    <dgm:cxn modelId="{5C9189C8-79E1-479F-95D2-B6544150F063}" type="presOf" srcId="{A9E1EC4F-5852-461E-83D3-C0EE3AC0BB06}" destId="{129142EC-7F2C-48F4-AAF1-BA24CF8135B3}" srcOrd="0" destOrd="0" presId="urn:microsoft.com/office/officeart/2005/8/layout/hChevron3"/>
    <dgm:cxn modelId="{B3A891C9-6CD2-4205-A411-B320B61FA9BE}" srcId="{7F42F8B9-0D9D-4448-8BCF-F327CBBFCE14}" destId="{1B3F69AD-FDA3-416C-9FE8-4F8C04FF26B2}" srcOrd="1" destOrd="0" parTransId="{18883702-4944-456A-A428-E8D2994431F0}" sibTransId="{65FC87C4-BE86-4446-86E4-E7F12A059E98}"/>
    <dgm:cxn modelId="{197563EA-0800-44E5-B1BB-8C28F5546063}" type="presOf" srcId="{7F42F8B9-0D9D-4448-8BCF-F327CBBFCE14}" destId="{7716C3A0-BBD8-4F5F-AA0F-F2E070834516}" srcOrd="0" destOrd="0" presId="urn:microsoft.com/office/officeart/2005/8/layout/hChevron3"/>
    <dgm:cxn modelId="{E7808837-3843-42AF-8A91-BBE332755238}" type="presParOf" srcId="{7716C3A0-BBD8-4F5F-AA0F-F2E070834516}" destId="{129142EC-7F2C-48F4-AAF1-BA24CF8135B3}" srcOrd="0" destOrd="0" presId="urn:microsoft.com/office/officeart/2005/8/layout/hChevron3"/>
    <dgm:cxn modelId="{48501FA5-22FF-49DA-AFEC-124015B5B326}" type="presParOf" srcId="{7716C3A0-BBD8-4F5F-AA0F-F2E070834516}" destId="{F01BB979-860A-4F29-8759-3660CF62A37B}" srcOrd="1" destOrd="0" presId="urn:microsoft.com/office/officeart/2005/8/layout/hChevron3"/>
    <dgm:cxn modelId="{719D465B-6027-42E1-8513-4F4B05662DB0}" type="presParOf" srcId="{7716C3A0-BBD8-4F5F-AA0F-F2E070834516}" destId="{D197CDE2-CEAD-4626-B396-F47AA2987AF6}" srcOrd="2" destOrd="0" presId="urn:microsoft.com/office/officeart/2005/8/layout/hChevron3"/>
    <dgm:cxn modelId="{D2B49293-6602-4AC7-A426-87F0D475BB6F}" type="presParOf" srcId="{7716C3A0-BBD8-4F5F-AA0F-F2E070834516}" destId="{F3F25F9D-B6C5-4AF1-8600-28757CCCC436}" srcOrd="3" destOrd="0" presId="urn:microsoft.com/office/officeart/2005/8/layout/hChevron3"/>
    <dgm:cxn modelId="{5DF3A34D-EC11-4B91-85FC-665774A3CFEB}" type="presParOf" srcId="{7716C3A0-BBD8-4F5F-AA0F-F2E070834516}" destId="{9DF58581-A327-4722-9B8B-597B9B77859B}" srcOrd="4" destOrd="0" presId="urn:microsoft.com/office/officeart/2005/8/layout/hChevron3"/>
    <dgm:cxn modelId="{9D4EAEED-8A2B-4C54-8CFB-7A6EFB8A182E}" type="presParOf" srcId="{7716C3A0-BBD8-4F5F-AA0F-F2E070834516}" destId="{653E7861-7FE0-45B0-AC5B-5228BBB841C8}" srcOrd="5" destOrd="0" presId="urn:microsoft.com/office/officeart/2005/8/layout/hChevron3"/>
    <dgm:cxn modelId="{84B5A9A6-2E39-4B30-B0A4-4A2EF665942F}" type="presParOf" srcId="{7716C3A0-BBD8-4F5F-AA0F-F2E070834516}" destId="{6F0F07A8-23BC-46E4-9A76-4E43C9732AE7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F42F8B9-0D9D-4448-8BCF-F327CBBFCE1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E6C517D8-84FA-404D-924E-384836B20A91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/>
            <a:t>Декларация по налогу на прибыль/3-НДФЛ</a:t>
          </a:r>
        </a:p>
      </dgm:t>
    </dgm:pt>
    <dgm:pt modelId="{D68C8842-3763-456B-B0C9-B3AC24AE74B2}" type="sibTrans" cxnId="{385D0B16-68A1-4152-A037-CE83E36405E2}">
      <dgm:prSet/>
      <dgm:spPr/>
      <dgm:t>
        <a:bodyPr/>
        <a:lstStyle/>
        <a:p>
          <a:endParaRPr lang="ru-RU"/>
        </a:p>
      </dgm:t>
    </dgm:pt>
    <dgm:pt modelId="{ABF21F93-4611-4C12-A9FF-EF670187F6EE}" type="parTrans" cxnId="{385D0B16-68A1-4152-A037-CE83E36405E2}">
      <dgm:prSet/>
      <dgm:spPr/>
      <dgm:t>
        <a:bodyPr/>
        <a:lstStyle/>
        <a:p>
          <a:endParaRPr lang="ru-RU"/>
        </a:p>
      </dgm:t>
    </dgm:pt>
    <dgm:pt modelId="{3C3BB1B0-ED3D-4B11-9C19-63717643C073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/>
            <a:t>Уведомление о КИК</a:t>
          </a:r>
        </a:p>
      </dgm:t>
    </dgm:pt>
    <dgm:pt modelId="{A85047DB-60D2-4A6A-9EB9-CB8DF754ADC2}" type="sibTrans" cxnId="{8AC43026-5648-4249-9045-D86900B352DC}">
      <dgm:prSet/>
      <dgm:spPr/>
      <dgm:t>
        <a:bodyPr/>
        <a:lstStyle/>
        <a:p>
          <a:endParaRPr lang="ru-RU"/>
        </a:p>
      </dgm:t>
    </dgm:pt>
    <dgm:pt modelId="{477DD1DB-E040-4563-B5AA-C41A0A9E52ED}" type="parTrans" cxnId="{8AC43026-5648-4249-9045-D86900B352DC}">
      <dgm:prSet/>
      <dgm:spPr/>
      <dgm:t>
        <a:bodyPr/>
        <a:lstStyle/>
        <a:p>
          <a:endParaRPr lang="ru-RU"/>
        </a:p>
      </dgm:t>
    </dgm:pt>
    <dgm:pt modelId="{1B3F69AD-FDA3-416C-9FE8-4F8C04FF26B2}">
      <dgm:prSet/>
      <dgm:spPr>
        <a:solidFill>
          <a:srgbClr val="FFC000"/>
        </a:solidFill>
      </dgm:spPr>
      <dgm:t>
        <a:bodyPr/>
        <a:lstStyle/>
        <a:p>
          <a:r>
            <a:rPr lang="ru-RU" dirty="0"/>
            <a:t>Уведомление об участии в иностранных организациях</a:t>
          </a:r>
        </a:p>
      </dgm:t>
    </dgm:pt>
    <dgm:pt modelId="{65FC87C4-BE86-4446-86E4-E7F12A059E98}" type="sibTrans" cxnId="{B3A891C9-6CD2-4205-A411-B320B61FA9BE}">
      <dgm:prSet/>
      <dgm:spPr/>
      <dgm:t>
        <a:bodyPr/>
        <a:lstStyle/>
        <a:p>
          <a:endParaRPr lang="ru-RU"/>
        </a:p>
      </dgm:t>
    </dgm:pt>
    <dgm:pt modelId="{18883702-4944-456A-A428-E8D2994431F0}" type="parTrans" cxnId="{B3A891C9-6CD2-4205-A411-B320B61FA9BE}">
      <dgm:prSet/>
      <dgm:spPr/>
      <dgm:t>
        <a:bodyPr/>
        <a:lstStyle/>
        <a:p>
          <a:endParaRPr lang="ru-RU"/>
        </a:p>
      </dgm:t>
    </dgm:pt>
    <dgm:pt modelId="{A9E1EC4F-5852-461E-83D3-C0EE3AC0BB06}">
      <dgm:prSet phldrT="[Текст]"/>
      <dgm:spPr>
        <a:solidFill>
          <a:srgbClr val="FFC000"/>
        </a:solidFill>
      </dgm:spPr>
      <dgm:t>
        <a:bodyPr/>
        <a:lstStyle/>
        <a:p>
          <a:r>
            <a:rPr lang="ru-RU" dirty="0"/>
            <a:t>Отражение операций приобретения/выбытия бизнеса</a:t>
          </a:r>
        </a:p>
      </dgm:t>
    </dgm:pt>
    <dgm:pt modelId="{91CC6DCF-8B7B-4F95-BE10-4870DCB6B803}" type="sibTrans" cxnId="{AD2D7317-CE86-495A-8071-C58FDDA62592}">
      <dgm:prSet/>
      <dgm:spPr/>
      <dgm:t>
        <a:bodyPr/>
        <a:lstStyle/>
        <a:p>
          <a:endParaRPr lang="ru-RU"/>
        </a:p>
      </dgm:t>
    </dgm:pt>
    <dgm:pt modelId="{D2491E45-8E7D-4C91-8332-63AE4A29E7A8}" type="parTrans" cxnId="{AD2D7317-CE86-495A-8071-C58FDDA62592}">
      <dgm:prSet/>
      <dgm:spPr/>
      <dgm:t>
        <a:bodyPr/>
        <a:lstStyle/>
        <a:p>
          <a:endParaRPr lang="ru-RU"/>
        </a:p>
      </dgm:t>
    </dgm:pt>
    <dgm:pt modelId="{7716C3A0-BBD8-4F5F-AA0F-F2E070834516}" type="pres">
      <dgm:prSet presAssocID="{7F42F8B9-0D9D-4448-8BCF-F327CBBFCE14}" presName="Name0" presStyleCnt="0">
        <dgm:presLayoutVars>
          <dgm:dir/>
          <dgm:resizeHandles val="exact"/>
        </dgm:presLayoutVars>
      </dgm:prSet>
      <dgm:spPr/>
    </dgm:pt>
    <dgm:pt modelId="{129142EC-7F2C-48F4-AAF1-BA24CF8135B3}" type="pres">
      <dgm:prSet presAssocID="{A9E1EC4F-5852-461E-83D3-C0EE3AC0BB06}" presName="parTxOnly" presStyleLbl="node1" presStyleIdx="0" presStyleCnt="4" custScaleY="68633" custLinFactNeighborY="-77566">
        <dgm:presLayoutVars>
          <dgm:bulletEnabled val="1"/>
        </dgm:presLayoutVars>
      </dgm:prSet>
      <dgm:spPr/>
    </dgm:pt>
    <dgm:pt modelId="{F01BB979-860A-4F29-8759-3660CF62A37B}" type="pres">
      <dgm:prSet presAssocID="{91CC6DCF-8B7B-4F95-BE10-4870DCB6B803}" presName="parSpace" presStyleCnt="0"/>
      <dgm:spPr/>
    </dgm:pt>
    <dgm:pt modelId="{D197CDE2-CEAD-4626-B396-F47AA2987AF6}" type="pres">
      <dgm:prSet presAssocID="{1B3F69AD-FDA3-416C-9FE8-4F8C04FF26B2}" presName="parTxOnly" presStyleLbl="node1" presStyleIdx="1" presStyleCnt="4" custScaleY="68633" custLinFactNeighborY="-77566">
        <dgm:presLayoutVars>
          <dgm:bulletEnabled val="1"/>
        </dgm:presLayoutVars>
      </dgm:prSet>
      <dgm:spPr/>
    </dgm:pt>
    <dgm:pt modelId="{F3F25F9D-B6C5-4AF1-8600-28757CCCC436}" type="pres">
      <dgm:prSet presAssocID="{65FC87C4-BE86-4446-86E4-E7F12A059E98}" presName="parSpace" presStyleCnt="0"/>
      <dgm:spPr/>
    </dgm:pt>
    <dgm:pt modelId="{9DF58581-A327-4722-9B8B-597B9B77859B}" type="pres">
      <dgm:prSet presAssocID="{3C3BB1B0-ED3D-4B11-9C19-63717643C073}" presName="parTxOnly" presStyleLbl="node1" presStyleIdx="2" presStyleCnt="4" custScaleY="68633" custLinFactNeighborY="-77566">
        <dgm:presLayoutVars>
          <dgm:bulletEnabled val="1"/>
        </dgm:presLayoutVars>
      </dgm:prSet>
      <dgm:spPr/>
    </dgm:pt>
    <dgm:pt modelId="{653E7861-7FE0-45B0-AC5B-5228BBB841C8}" type="pres">
      <dgm:prSet presAssocID="{A85047DB-60D2-4A6A-9EB9-CB8DF754ADC2}" presName="parSpace" presStyleCnt="0"/>
      <dgm:spPr/>
    </dgm:pt>
    <dgm:pt modelId="{6F0F07A8-23BC-46E4-9A76-4E43C9732AE7}" type="pres">
      <dgm:prSet presAssocID="{E6C517D8-84FA-404D-924E-384836B20A91}" presName="parTxOnly" presStyleLbl="node1" presStyleIdx="3" presStyleCnt="4" custScaleY="68633" custLinFactNeighborY="-77566">
        <dgm:presLayoutVars>
          <dgm:bulletEnabled val="1"/>
        </dgm:presLayoutVars>
      </dgm:prSet>
      <dgm:spPr/>
    </dgm:pt>
  </dgm:ptLst>
  <dgm:cxnLst>
    <dgm:cxn modelId="{385D0B16-68A1-4152-A037-CE83E36405E2}" srcId="{7F42F8B9-0D9D-4448-8BCF-F327CBBFCE14}" destId="{E6C517D8-84FA-404D-924E-384836B20A91}" srcOrd="3" destOrd="0" parTransId="{ABF21F93-4611-4C12-A9FF-EF670187F6EE}" sibTransId="{D68C8842-3763-456B-B0C9-B3AC24AE74B2}"/>
    <dgm:cxn modelId="{AD2D7317-CE86-495A-8071-C58FDDA62592}" srcId="{7F42F8B9-0D9D-4448-8BCF-F327CBBFCE14}" destId="{A9E1EC4F-5852-461E-83D3-C0EE3AC0BB06}" srcOrd="0" destOrd="0" parTransId="{D2491E45-8E7D-4C91-8332-63AE4A29E7A8}" sibTransId="{91CC6DCF-8B7B-4F95-BE10-4870DCB6B803}"/>
    <dgm:cxn modelId="{2438EE18-83A9-4D90-97D1-2E7853D7DACF}" type="presOf" srcId="{7F42F8B9-0D9D-4448-8BCF-F327CBBFCE14}" destId="{7716C3A0-BBD8-4F5F-AA0F-F2E070834516}" srcOrd="0" destOrd="0" presId="urn:microsoft.com/office/officeart/2005/8/layout/hChevron3"/>
    <dgm:cxn modelId="{8AC43026-5648-4249-9045-D86900B352DC}" srcId="{7F42F8B9-0D9D-4448-8BCF-F327CBBFCE14}" destId="{3C3BB1B0-ED3D-4B11-9C19-63717643C073}" srcOrd="2" destOrd="0" parTransId="{477DD1DB-E040-4563-B5AA-C41A0A9E52ED}" sibTransId="{A85047DB-60D2-4A6A-9EB9-CB8DF754ADC2}"/>
    <dgm:cxn modelId="{CB7F453B-CE7F-4D4E-9988-1376452FD0DE}" type="presOf" srcId="{E6C517D8-84FA-404D-924E-384836B20A91}" destId="{6F0F07A8-23BC-46E4-9A76-4E43C9732AE7}" srcOrd="0" destOrd="0" presId="urn:microsoft.com/office/officeart/2005/8/layout/hChevron3"/>
    <dgm:cxn modelId="{DC00643F-3AD4-4E78-817A-7A9A79715AD0}" type="presOf" srcId="{3C3BB1B0-ED3D-4B11-9C19-63717643C073}" destId="{9DF58581-A327-4722-9B8B-597B9B77859B}" srcOrd="0" destOrd="0" presId="urn:microsoft.com/office/officeart/2005/8/layout/hChevron3"/>
    <dgm:cxn modelId="{DFA6EF53-7493-49BB-869D-D2FF6D30CFE6}" type="presOf" srcId="{A9E1EC4F-5852-461E-83D3-C0EE3AC0BB06}" destId="{129142EC-7F2C-48F4-AAF1-BA24CF8135B3}" srcOrd="0" destOrd="0" presId="urn:microsoft.com/office/officeart/2005/8/layout/hChevron3"/>
    <dgm:cxn modelId="{B3A891C9-6CD2-4205-A411-B320B61FA9BE}" srcId="{7F42F8B9-0D9D-4448-8BCF-F327CBBFCE14}" destId="{1B3F69AD-FDA3-416C-9FE8-4F8C04FF26B2}" srcOrd="1" destOrd="0" parTransId="{18883702-4944-456A-A428-E8D2994431F0}" sibTransId="{65FC87C4-BE86-4446-86E4-E7F12A059E98}"/>
    <dgm:cxn modelId="{A93A7AEA-15A1-43DC-B6F2-3C3B27B6B5F9}" type="presOf" srcId="{1B3F69AD-FDA3-416C-9FE8-4F8C04FF26B2}" destId="{D197CDE2-CEAD-4626-B396-F47AA2987AF6}" srcOrd="0" destOrd="0" presId="urn:microsoft.com/office/officeart/2005/8/layout/hChevron3"/>
    <dgm:cxn modelId="{D6B755A0-CDF7-4517-8817-01B1A9D6E3DC}" type="presParOf" srcId="{7716C3A0-BBD8-4F5F-AA0F-F2E070834516}" destId="{129142EC-7F2C-48F4-AAF1-BA24CF8135B3}" srcOrd="0" destOrd="0" presId="urn:microsoft.com/office/officeart/2005/8/layout/hChevron3"/>
    <dgm:cxn modelId="{0655EBA1-DF59-4527-A229-226CA7B9DFB6}" type="presParOf" srcId="{7716C3A0-BBD8-4F5F-AA0F-F2E070834516}" destId="{F01BB979-860A-4F29-8759-3660CF62A37B}" srcOrd="1" destOrd="0" presId="urn:microsoft.com/office/officeart/2005/8/layout/hChevron3"/>
    <dgm:cxn modelId="{001405E3-A2F7-427D-8854-67E78FA9D5E2}" type="presParOf" srcId="{7716C3A0-BBD8-4F5F-AA0F-F2E070834516}" destId="{D197CDE2-CEAD-4626-B396-F47AA2987AF6}" srcOrd="2" destOrd="0" presId="urn:microsoft.com/office/officeart/2005/8/layout/hChevron3"/>
    <dgm:cxn modelId="{6DC6441E-7C25-4D31-A55A-DEC3CE3294DB}" type="presParOf" srcId="{7716C3A0-BBD8-4F5F-AA0F-F2E070834516}" destId="{F3F25F9D-B6C5-4AF1-8600-28757CCCC436}" srcOrd="3" destOrd="0" presId="urn:microsoft.com/office/officeart/2005/8/layout/hChevron3"/>
    <dgm:cxn modelId="{D8144FD3-2127-4C91-9391-A8DEB2196F74}" type="presParOf" srcId="{7716C3A0-BBD8-4F5F-AA0F-F2E070834516}" destId="{9DF58581-A327-4722-9B8B-597B9B77859B}" srcOrd="4" destOrd="0" presId="urn:microsoft.com/office/officeart/2005/8/layout/hChevron3"/>
    <dgm:cxn modelId="{5F35942A-CAD5-4316-B638-316775A378C0}" type="presParOf" srcId="{7716C3A0-BBD8-4F5F-AA0F-F2E070834516}" destId="{653E7861-7FE0-45B0-AC5B-5228BBB841C8}" srcOrd="5" destOrd="0" presId="urn:microsoft.com/office/officeart/2005/8/layout/hChevron3"/>
    <dgm:cxn modelId="{E802F801-19CC-4B1E-AA6B-70411C2920AA}" type="presParOf" srcId="{7716C3A0-BBD8-4F5F-AA0F-F2E070834516}" destId="{6F0F07A8-23BC-46E4-9A76-4E43C9732AE7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F42F8B9-0D9D-4448-8BCF-F327CBBFCE14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E6C517D8-84FA-404D-924E-384836B20A91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/>
            <a:t>Заполнение уведомлений КИК и деклараций</a:t>
          </a:r>
        </a:p>
      </dgm:t>
    </dgm:pt>
    <dgm:pt modelId="{D68C8842-3763-456B-B0C9-B3AC24AE74B2}" type="sibTrans" cxnId="{385D0B16-68A1-4152-A037-CE83E36405E2}">
      <dgm:prSet/>
      <dgm:spPr/>
      <dgm:t>
        <a:bodyPr/>
        <a:lstStyle/>
        <a:p>
          <a:endParaRPr lang="ru-RU"/>
        </a:p>
      </dgm:t>
    </dgm:pt>
    <dgm:pt modelId="{ABF21F93-4611-4C12-A9FF-EF670187F6EE}" type="parTrans" cxnId="{385D0B16-68A1-4152-A037-CE83E36405E2}">
      <dgm:prSet/>
      <dgm:spPr/>
      <dgm:t>
        <a:bodyPr/>
        <a:lstStyle/>
        <a:p>
          <a:endParaRPr lang="ru-RU"/>
        </a:p>
      </dgm:t>
    </dgm:pt>
    <dgm:pt modelId="{3C3BB1B0-ED3D-4B11-9C19-63717643C073}">
      <dgm:prSet phldrT="[Текст]"/>
      <dgm:spPr>
        <a:solidFill>
          <a:srgbClr val="FC6E51"/>
        </a:solidFill>
      </dgm:spPr>
      <dgm:t>
        <a:bodyPr/>
        <a:lstStyle/>
        <a:p>
          <a:r>
            <a:rPr lang="ru-RU" dirty="0"/>
            <a:t>Заполнение экземпляров отчётов</a:t>
          </a:r>
        </a:p>
      </dgm:t>
    </dgm:pt>
    <dgm:pt modelId="{A85047DB-60D2-4A6A-9EB9-CB8DF754ADC2}" type="sibTrans" cxnId="{8AC43026-5648-4249-9045-D86900B352DC}">
      <dgm:prSet/>
      <dgm:spPr/>
      <dgm:t>
        <a:bodyPr/>
        <a:lstStyle/>
        <a:p>
          <a:endParaRPr lang="ru-RU"/>
        </a:p>
      </dgm:t>
    </dgm:pt>
    <dgm:pt modelId="{477DD1DB-E040-4563-B5AA-C41A0A9E52ED}" type="parTrans" cxnId="{8AC43026-5648-4249-9045-D86900B352DC}">
      <dgm:prSet/>
      <dgm:spPr/>
      <dgm:t>
        <a:bodyPr/>
        <a:lstStyle/>
        <a:p>
          <a:endParaRPr lang="ru-RU"/>
        </a:p>
      </dgm:t>
    </dgm:pt>
    <dgm:pt modelId="{1B3F69AD-FDA3-416C-9FE8-4F8C04FF26B2}">
      <dgm:prSet/>
      <dgm:spPr>
        <a:solidFill>
          <a:srgbClr val="FFC000"/>
        </a:solidFill>
      </dgm:spPr>
      <dgm:t>
        <a:bodyPr/>
        <a:lstStyle/>
        <a:p>
          <a:r>
            <a:rPr lang="ru-RU" dirty="0"/>
            <a:t>Создание видов отчётов</a:t>
          </a:r>
        </a:p>
      </dgm:t>
    </dgm:pt>
    <dgm:pt modelId="{65FC87C4-BE86-4446-86E4-E7F12A059E98}" type="sibTrans" cxnId="{B3A891C9-6CD2-4205-A411-B320B61FA9BE}">
      <dgm:prSet/>
      <dgm:spPr/>
      <dgm:t>
        <a:bodyPr/>
        <a:lstStyle/>
        <a:p>
          <a:endParaRPr lang="ru-RU"/>
        </a:p>
      </dgm:t>
    </dgm:pt>
    <dgm:pt modelId="{18883702-4944-456A-A428-E8D2994431F0}" type="parTrans" cxnId="{B3A891C9-6CD2-4205-A411-B320B61FA9BE}">
      <dgm:prSet/>
      <dgm:spPr/>
      <dgm:t>
        <a:bodyPr/>
        <a:lstStyle/>
        <a:p>
          <a:endParaRPr lang="ru-RU"/>
        </a:p>
      </dgm:t>
    </dgm:pt>
    <dgm:pt modelId="{A9E1EC4F-5852-461E-83D3-C0EE3AC0BB06}">
      <dgm:prSet phldrT="[Текст]"/>
      <dgm:spPr>
        <a:solidFill>
          <a:srgbClr val="FFC000"/>
        </a:solidFill>
      </dgm:spPr>
      <dgm:t>
        <a:bodyPr/>
        <a:lstStyle/>
        <a:p>
          <a:r>
            <a:rPr lang="ru-RU" dirty="0"/>
            <a:t>Заполнение статей налоговых регистров КИК</a:t>
          </a:r>
        </a:p>
      </dgm:t>
    </dgm:pt>
    <dgm:pt modelId="{91CC6DCF-8B7B-4F95-BE10-4870DCB6B803}" type="sibTrans" cxnId="{AD2D7317-CE86-495A-8071-C58FDDA62592}">
      <dgm:prSet/>
      <dgm:spPr/>
      <dgm:t>
        <a:bodyPr/>
        <a:lstStyle/>
        <a:p>
          <a:endParaRPr lang="ru-RU"/>
        </a:p>
      </dgm:t>
    </dgm:pt>
    <dgm:pt modelId="{D2491E45-8E7D-4C91-8332-63AE4A29E7A8}" type="parTrans" cxnId="{AD2D7317-CE86-495A-8071-C58FDDA62592}">
      <dgm:prSet/>
      <dgm:spPr/>
      <dgm:t>
        <a:bodyPr/>
        <a:lstStyle/>
        <a:p>
          <a:endParaRPr lang="ru-RU"/>
        </a:p>
      </dgm:t>
    </dgm:pt>
    <dgm:pt modelId="{7716C3A0-BBD8-4F5F-AA0F-F2E070834516}" type="pres">
      <dgm:prSet presAssocID="{7F42F8B9-0D9D-4448-8BCF-F327CBBFCE14}" presName="Name0" presStyleCnt="0">
        <dgm:presLayoutVars>
          <dgm:dir/>
          <dgm:resizeHandles val="exact"/>
        </dgm:presLayoutVars>
      </dgm:prSet>
      <dgm:spPr/>
    </dgm:pt>
    <dgm:pt modelId="{129142EC-7F2C-48F4-AAF1-BA24CF8135B3}" type="pres">
      <dgm:prSet presAssocID="{A9E1EC4F-5852-461E-83D3-C0EE3AC0BB06}" presName="parTxOnly" presStyleLbl="node1" presStyleIdx="0" presStyleCnt="4" custScaleY="68633" custLinFactNeighborX="2085" custLinFactNeighborY="38982">
        <dgm:presLayoutVars>
          <dgm:bulletEnabled val="1"/>
        </dgm:presLayoutVars>
      </dgm:prSet>
      <dgm:spPr/>
    </dgm:pt>
    <dgm:pt modelId="{F01BB979-860A-4F29-8759-3660CF62A37B}" type="pres">
      <dgm:prSet presAssocID="{91CC6DCF-8B7B-4F95-BE10-4870DCB6B803}" presName="parSpace" presStyleCnt="0"/>
      <dgm:spPr/>
    </dgm:pt>
    <dgm:pt modelId="{D197CDE2-CEAD-4626-B396-F47AA2987AF6}" type="pres">
      <dgm:prSet presAssocID="{1B3F69AD-FDA3-416C-9FE8-4F8C04FF26B2}" presName="parTxOnly" presStyleLbl="node1" presStyleIdx="1" presStyleCnt="4" custScaleY="68633" custLinFactNeighborX="2085" custLinFactNeighborY="38982">
        <dgm:presLayoutVars>
          <dgm:bulletEnabled val="1"/>
        </dgm:presLayoutVars>
      </dgm:prSet>
      <dgm:spPr/>
    </dgm:pt>
    <dgm:pt modelId="{F3F25F9D-B6C5-4AF1-8600-28757CCCC436}" type="pres">
      <dgm:prSet presAssocID="{65FC87C4-BE86-4446-86E4-E7F12A059E98}" presName="parSpace" presStyleCnt="0"/>
      <dgm:spPr/>
    </dgm:pt>
    <dgm:pt modelId="{9DF58581-A327-4722-9B8B-597B9B77859B}" type="pres">
      <dgm:prSet presAssocID="{3C3BB1B0-ED3D-4B11-9C19-63717643C073}" presName="parTxOnly" presStyleLbl="node1" presStyleIdx="2" presStyleCnt="4" custScaleY="68633" custLinFactNeighborX="2085" custLinFactNeighborY="38982">
        <dgm:presLayoutVars>
          <dgm:bulletEnabled val="1"/>
        </dgm:presLayoutVars>
      </dgm:prSet>
      <dgm:spPr/>
    </dgm:pt>
    <dgm:pt modelId="{653E7861-7FE0-45B0-AC5B-5228BBB841C8}" type="pres">
      <dgm:prSet presAssocID="{A85047DB-60D2-4A6A-9EB9-CB8DF754ADC2}" presName="parSpace" presStyleCnt="0"/>
      <dgm:spPr/>
    </dgm:pt>
    <dgm:pt modelId="{6F0F07A8-23BC-46E4-9A76-4E43C9732AE7}" type="pres">
      <dgm:prSet presAssocID="{E6C517D8-84FA-404D-924E-384836B20A91}" presName="parTxOnly" presStyleLbl="node1" presStyleIdx="3" presStyleCnt="4" custScaleY="68633" custLinFactNeighborX="2085" custLinFactNeighborY="38982">
        <dgm:presLayoutVars>
          <dgm:bulletEnabled val="1"/>
        </dgm:presLayoutVars>
      </dgm:prSet>
      <dgm:spPr/>
    </dgm:pt>
  </dgm:ptLst>
  <dgm:cxnLst>
    <dgm:cxn modelId="{385D0B16-68A1-4152-A037-CE83E36405E2}" srcId="{7F42F8B9-0D9D-4448-8BCF-F327CBBFCE14}" destId="{E6C517D8-84FA-404D-924E-384836B20A91}" srcOrd="3" destOrd="0" parTransId="{ABF21F93-4611-4C12-A9FF-EF670187F6EE}" sibTransId="{D68C8842-3763-456B-B0C9-B3AC24AE74B2}"/>
    <dgm:cxn modelId="{AD2D7317-CE86-495A-8071-C58FDDA62592}" srcId="{7F42F8B9-0D9D-4448-8BCF-F327CBBFCE14}" destId="{A9E1EC4F-5852-461E-83D3-C0EE3AC0BB06}" srcOrd="0" destOrd="0" parTransId="{D2491E45-8E7D-4C91-8332-63AE4A29E7A8}" sibTransId="{91CC6DCF-8B7B-4F95-BE10-4870DCB6B803}"/>
    <dgm:cxn modelId="{8AC43026-5648-4249-9045-D86900B352DC}" srcId="{7F42F8B9-0D9D-4448-8BCF-F327CBBFCE14}" destId="{3C3BB1B0-ED3D-4B11-9C19-63717643C073}" srcOrd="2" destOrd="0" parTransId="{477DD1DB-E040-4563-B5AA-C41A0A9E52ED}" sibTransId="{A85047DB-60D2-4A6A-9EB9-CB8DF754ADC2}"/>
    <dgm:cxn modelId="{7BC0E24C-8125-477C-9449-AD73891D80EB}" type="presOf" srcId="{A9E1EC4F-5852-461E-83D3-C0EE3AC0BB06}" destId="{129142EC-7F2C-48F4-AAF1-BA24CF8135B3}" srcOrd="0" destOrd="0" presId="urn:microsoft.com/office/officeart/2005/8/layout/hChevron3"/>
    <dgm:cxn modelId="{37EEDF56-2C5F-4A62-A2E2-DF3755A5822E}" type="presOf" srcId="{1B3F69AD-FDA3-416C-9FE8-4F8C04FF26B2}" destId="{D197CDE2-CEAD-4626-B396-F47AA2987AF6}" srcOrd="0" destOrd="0" presId="urn:microsoft.com/office/officeart/2005/8/layout/hChevron3"/>
    <dgm:cxn modelId="{DAE9077D-36CE-4E56-B812-DF56606C3ABE}" type="presOf" srcId="{7F42F8B9-0D9D-4448-8BCF-F327CBBFCE14}" destId="{7716C3A0-BBD8-4F5F-AA0F-F2E070834516}" srcOrd="0" destOrd="0" presId="urn:microsoft.com/office/officeart/2005/8/layout/hChevron3"/>
    <dgm:cxn modelId="{B3B9F18A-E321-497A-BB0E-38B5CF816A8E}" type="presOf" srcId="{E6C517D8-84FA-404D-924E-384836B20A91}" destId="{6F0F07A8-23BC-46E4-9A76-4E43C9732AE7}" srcOrd="0" destOrd="0" presId="urn:microsoft.com/office/officeart/2005/8/layout/hChevron3"/>
    <dgm:cxn modelId="{4F8E6A94-A1BA-4772-AC24-E1950DD8F421}" type="presOf" srcId="{3C3BB1B0-ED3D-4B11-9C19-63717643C073}" destId="{9DF58581-A327-4722-9B8B-597B9B77859B}" srcOrd="0" destOrd="0" presId="urn:microsoft.com/office/officeart/2005/8/layout/hChevron3"/>
    <dgm:cxn modelId="{B3A891C9-6CD2-4205-A411-B320B61FA9BE}" srcId="{7F42F8B9-0D9D-4448-8BCF-F327CBBFCE14}" destId="{1B3F69AD-FDA3-416C-9FE8-4F8C04FF26B2}" srcOrd="1" destOrd="0" parTransId="{18883702-4944-456A-A428-E8D2994431F0}" sibTransId="{65FC87C4-BE86-4446-86E4-E7F12A059E98}"/>
    <dgm:cxn modelId="{62E2798E-5450-48A3-94FC-74E231C62831}" type="presParOf" srcId="{7716C3A0-BBD8-4F5F-AA0F-F2E070834516}" destId="{129142EC-7F2C-48F4-AAF1-BA24CF8135B3}" srcOrd="0" destOrd="0" presId="urn:microsoft.com/office/officeart/2005/8/layout/hChevron3"/>
    <dgm:cxn modelId="{C24AEE6C-B6EC-4154-A473-111DCBEB9F78}" type="presParOf" srcId="{7716C3A0-BBD8-4F5F-AA0F-F2E070834516}" destId="{F01BB979-860A-4F29-8759-3660CF62A37B}" srcOrd="1" destOrd="0" presId="urn:microsoft.com/office/officeart/2005/8/layout/hChevron3"/>
    <dgm:cxn modelId="{A9360ADD-B105-47B7-B474-6B27ED36133C}" type="presParOf" srcId="{7716C3A0-BBD8-4F5F-AA0F-F2E070834516}" destId="{D197CDE2-CEAD-4626-B396-F47AA2987AF6}" srcOrd="2" destOrd="0" presId="urn:microsoft.com/office/officeart/2005/8/layout/hChevron3"/>
    <dgm:cxn modelId="{DD522FC2-375D-43D4-9015-A7B2F27F17CF}" type="presParOf" srcId="{7716C3A0-BBD8-4F5F-AA0F-F2E070834516}" destId="{F3F25F9D-B6C5-4AF1-8600-28757CCCC436}" srcOrd="3" destOrd="0" presId="urn:microsoft.com/office/officeart/2005/8/layout/hChevron3"/>
    <dgm:cxn modelId="{C4F00353-8EE7-46B0-A3AB-171192D81B91}" type="presParOf" srcId="{7716C3A0-BBD8-4F5F-AA0F-F2E070834516}" destId="{9DF58581-A327-4722-9B8B-597B9B77859B}" srcOrd="4" destOrd="0" presId="urn:microsoft.com/office/officeart/2005/8/layout/hChevron3"/>
    <dgm:cxn modelId="{CC297B2E-926C-43D5-A8D3-0143FC55EDD7}" type="presParOf" srcId="{7716C3A0-BBD8-4F5F-AA0F-F2E070834516}" destId="{653E7861-7FE0-45B0-AC5B-5228BBB841C8}" srcOrd="5" destOrd="0" presId="urn:microsoft.com/office/officeart/2005/8/layout/hChevron3"/>
    <dgm:cxn modelId="{2330A690-1E5D-4C56-B173-CD14A406DECF}" type="presParOf" srcId="{7716C3A0-BBD8-4F5F-AA0F-F2E070834516}" destId="{6F0F07A8-23BC-46E4-9A76-4E43C9732AE7}" srcOrd="6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9142EC-7F2C-48F4-AAF1-BA24CF8135B3}">
      <dsp:nvSpPr>
        <dsp:cNvPr id="0" name=""/>
        <dsp:cNvSpPr/>
      </dsp:nvSpPr>
      <dsp:spPr>
        <a:xfrm>
          <a:off x="2995" y="1231265"/>
          <a:ext cx="3005630" cy="825141"/>
        </a:xfrm>
        <a:prstGeom prst="homePlat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Отражение операций приобретения/выбытия бизнеса</a:t>
          </a:r>
        </a:p>
      </dsp:txBody>
      <dsp:txXfrm>
        <a:off x="2995" y="1231265"/>
        <a:ext cx="2799345" cy="825141"/>
      </dsp:txXfrm>
    </dsp:sp>
    <dsp:sp modelId="{D197CDE2-CEAD-4626-B396-F47AA2987AF6}">
      <dsp:nvSpPr>
        <dsp:cNvPr id="0" name=""/>
        <dsp:cNvSpPr/>
      </dsp:nvSpPr>
      <dsp:spPr>
        <a:xfrm>
          <a:off x="2407500" y="1231265"/>
          <a:ext cx="3005630" cy="825141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Уведомление об участии в иностранных организациях</a:t>
          </a:r>
        </a:p>
      </dsp:txBody>
      <dsp:txXfrm>
        <a:off x="2820071" y="1231265"/>
        <a:ext cx="2180489" cy="825141"/>
      </dsp:txXfrm>
    </dsp:sp>
    <dsp:sp modelId="{9DF58581-A327-4722-9B8B-597B9B77859B}">
      <dsp:nvSpPr>
        <dsp:cNvPr id="0" name=""/>
        <dsp:cNvSpPr/>
      </dsp:nvSpPr>
      <dsp:spPr>
        <a:xfrm>
          <a:off x="4812004" y="1231265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Уведомление о КИК</a:t>
          </a:r>
        </a:p>
      </dsp:txBody>
      <dsp:txXfrm>
        <a:off x="5224575" y="1231265"/>
        <a:ext cx="2180489" cy="825141"/>
      </dsp:txXfrm>
    </dsp:sp>
    <dsp:sp modelId="{6F0F07A8-23BC-46E4-9A76-4E43C9732AE7}">
      <dsp:nvSpPr>
        <dsp:cNvPr id="0" name=""/>
        <dsp:cNvSpPr/>
      </dsp:nvSpPr>
      <dsp:spPr>
        <a:xfrm>
          <a:off x="7216508" y="1231265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Декларация по налогу на прибыль/3-НДФЛ</a:t>
          </a:r>
        </a:p>
      </dsp:txBody>
      <dsp:txXfrm>
        <a:off x="7629079" y="1231265"/>
        <a:ext cx="2180489" cy="82514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9142EC-7F2C-48F4-AAF1-BA24CF8135B3}">
      <dsp:nvSpPr>
        <dsp:cNvPr id="0" name=""/>
        <dsp:cNvSpPr/>
      </dsp:nvSpPr>
      <dsp:spPr>
        <a:xfrm>
          <a:off x="2995" y="1231265"/>
          <a:ext cx="3005630" cy="825141"/>
        </a:xfrm>
        <a:prstGeom prst="homePlat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Отражение операций приобретения/выбытия бизнеса</a:t>
          </a:r>
        </a:p>
      </dsp:txBody>
      <dsp:txXfrm>
        <a:off x="2995" y="1231265"/>
        <a:ext cx="2799345" cy="825141"/>
      </dsp:txXfrm>
    </dsp:sp>
    <dsp:sp modelId="{D197CDE2-CEAD-4626-B396-F47AA2987AF6}">
      <dsp:nvSpPr>
        <dsp:cNvPr id="0" name=""/>
        <dsp:cNvSpPr/>
      </dsp:nvSpPr>
      <dsp:spPr>
        <a:xfrm>
          <a:off x="2407500" y="1231265"/>
          <a:ext cx="3005630" cy="825141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Уведомление об участии в иностранных организациях</a:t>
          </a:r>
        </a:p>
      </dsp:txBody>
      <dsp:txXfrm>
        <a:off x="2820071" y="1231265"/>
        <a:ext cx="2180489" cy="825141"/>
      </dsp:txXfrm>
    </dsp:sp>
    <dsp:sp modelId="{9DF58581-A327-4722-9B8B-597B9B77859B}">
      <dsp:nvSpPr>
        <dsp:cNvPr id="0" name=""/>
        <dsp:cNvSpPr/>
      </dsp:nvSpPr>
      <dsp:spPr>
        <a:xfrm>
          <a:off x="4812004" y="1231265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Уведомление о КИК</a:t>
          </a:r>
        </a:p>
      </dsp:txBody>
      <dsp:txXfrm>
        <a:off x="5224575" y="1231265"/>
        <a:ext cx="2180489" cy="825141"/>
      </dsp:txXfrm>
    </dsp:sp>
    <dsp:sp modelId="{6F0F07A8-23BC-46E4-9A76-4E43C9732AE7}">
      <dsp:nvSpPr>
        <dsp:cNvPr id="0" name=""/>
        <dsp:cNvSpPr/>
      </dsp:nvSpPr>
      <dsp:spPr>
        <a:xfrm>
          <a:off x="7216508" y="1231265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4008" tIns="42672" rIns="21336" bIns="42672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600" kern="1200" dirty="0"/>
            <a:t>Декларация по налогу на прибыль/3-НДФЛ</a:t>
          </a:r>
        </a:p>
      </dsp:txBody>
      <dsp:txXfrm>
        <a:off x="7629079" y="1231265"/>
        <a:ext cx="2180489" cy="825141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29142EC-7F2C-48F4-AAF1-BA24CF8135B3}">
      <dsp:nvSpPr>
        <dsp:cNvPr id="0" name=""/>
        <dsp:cNvSpPr/>
      </dsp:nvSpPr>
      <dsp:spPr>
        <a:xfrm>
          <a:off x="15529" y="2632466"/>
          <a:ext cx="3005630" cy="825141"/>
        </a:xfrm>
        <a:prstGeom prst="homePlate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0678" tIns="45339" rIns="22670" bIns="45339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Заполнение статей налоговых регистров КИК</a:t>
          </a:r>
        </a:p>
      </dsp:txBody>
      <dsp:txXfrm>
        <a:off x="15529" y="2632466"/>
        <a:ext cx="2799345" cy="825141"/>
      </dsp:txXfrm>
    </dsp:sp>
    <dsp:sp modelId="{D197CDE2-CEAD-4626-B396-F47AA2987AF6}">
      <dsp:nvSpPr>
        <dsp:cNvPr id="0" name=""/>
        <dsp:cNvSpPr/>
      </dsp:nvSpPr>
      <dsp:spPr>
        <a:xfrm>
          <a:off x="2420033" y="2632466"/>
          <a:ext cx="3005630" cy="825141"/>
        </a:xfrm>
        <a:prstGeom prst="chevron">
          <a:avLst/>
        </a:prstGeom>
        <a:solidFill>
          <a:srgbClr val="FFC00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45339" rIns="22670" bIns="45339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Создание видов отчётов</a:t>
          </a:r>
        </a:p>
      </dsp:txBody>
      <dsp:txXfrm>
        <a:off x="2832604" y="2632466"/>
        <a:ext cx="2180489" cy="825141"/>
      </dsp:txXfrm>
    </dsp:sp>
    <dsp:sp modelId="{9DF58581-A327-4722-9B8B-597B9B77859B}">
      <dsp:nvSpPr>
        <dsp:cNvPr id="0" name=""/>
        <dsp:cNvSpPr/>
      </dsp:nvSpPr>
      <dsp:spPr>
        <a:xfrm>
          <a:off x="4824537" y="2632466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45339" rIns="22670" bIns="45339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Заполнение экземпляров отчётов</a:t>
          </a:r>
        </a:p>
      </dsp:txBody>
      <dsp:txXfrm>
        <a:off x="5237108" y="2632466"/>
        <a:ext cx="2180489" cy="825141"/>
      </dsp:txXfrm>
    </dsp:sp>
    <dsp:sp modelId="{6F0F07A8-23BC-46E4-9A76-4E43C9732AE7}">
      <dsp:nvSpPr>
        <dsp:cNvPr id="0" name=""/>
        <dsp:cNvSpPr/>
      </dsp:nvSpPr>
      <dsp:spPr>
        <a:xfrm>
          <a:off x="7219504" y="2632466"/>
          <a:ext cx="3005630" cy="825141"/>
        </a:xfrm>
        <a:prstGeom prst="chevron">
          <a:avLst/>
        </a:prstGeom>
        <a:solidFill>
          <a:srgbClr val="FC6E51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009" tIns="45339" rIns="22670" bIns="45339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700" kern="1200" dirty="0"/>
            <a:t>Заполнение уведомлений КИК и деклараций</a:t>
          </a:r>
        </a:p>
      </dsp:txBody>
      <dsp:txXfrm>
        <a:off x="7632075" y="2632466"/>
        <a:ext cx="2180489" cy="825141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48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37B7DC11-DDBE-4678-95F7-C68FA074C5D5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075" name="Rectangle 3"/>
          <p:cNvSpPr>
            <a:spLocks noGrp="1" noRot="1" noChangeAspect="1" noChangeArrowheads="1"/>
          </p:cNvSpPr>
          <p:nvPr>
            <p:ph type="sldImg" idx="2"/>
          </p:nvPr>
        </p:nvSpPr>
        <p:spPr bwMode="auto">
          <a:xfrm>
            <a:off x="90488" y="742950"/>
            <a:ext cx="6616700" cy="37226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52" name="Rectangle 4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4876"/>
            <a:ext cx="4984750" cy="446881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2053" name="Rectangle 5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1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t" anchorCtr="0" compatLnSpc="1">
            <a:prstTxWarp prst="textNoShape">
              <a:avLst/>
            </a:prstTxWarp>
          </a:bodyPr>
          <a:lstStyle>
            <a:lvl1pPr algn="r"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4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defTabSz="912813" eaLnBrk="0" hangingPunct="0">
              <a:lnSpc>
                <a:spcPct val="100000"/>
              </a:lnSpc>
              <a:spcBef>
                <a:spcPct val="0"/>
              </a:spcBef>
              <a:buSzTx/>
              <a:buFontTx/>
              <a:buNone/>
              <a:defRPr sz="1200" b="0">
                <a:solidFill>
                  <a:schemeClr val="tx1"/>
                </a:solidFill>
                <a:latin typeface="Times New Roman" pitchFamily="18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055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26576"/>
            <a:ext cx="2946400" cy="500063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91370" tIns="45685" rIns="91370" bIns="45685" numCol="1" anchor="b" anchorCtr="0" compatLnSpc="1">
            <a:prstTxWarp prst="textNoShape">
              <a:avLst/>
            </a:prstTxWarp>
          </a:bodyPr>
          <a:lstStyle>
            <a:lvl1pPr algn="r" defTabSz="912813">
              <a:defRPr sz="1200" b="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</a:lstStyle>
          <a:p>
            <a:fld id="{7BAF3600-01B7-4D3D-A0CA-AC5E9E63972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0993895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kumimoji="1"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0027109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270646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еким можно</a:t>
            </a:r>
            <a:r>
              <a:rPr lang="ru-RU" baseline="0" dirty="0"/>
              <a:t> сказать обратным процессом к учёту КИК является учёт участия в МГК.</a:t>
            </a:r>
          </a:p>
          <a:p>
            <a:r>
              <a:rPr lang="ru-RU" baseline="0" dirty="0"/>
              <a:t>Здесь наоборот международные холдинги покупают нас и возможно даже платят за нас налоги в других юрисдикциях.</a:t>
            </a:r>
          </a:p>
          <a:p>
            <a:r>
              <a:rPr lang="ru-RU" baseline="0" dirty="0"/>
              <a:t>Поэтому чтобы избежать двойного налогообложения необходимо тоже подавать отчётность. Это уведомление и </a:t>
            </a:r>
            <a:r>
              <a:rPr lang="ru-RU" baseline="0" dirty="0" err="1"/>
              <a:t>страновой</a:t>
            </a:r>
            <a:r>
              <a:rPr lang="ru-RU" baseline="0" dirty="0"/>
              <a:t> отчёт.</a:t>
            </a:r>
          </a:p>
          <a:p>
            <a:r>
              <a:rPr lang="ru-RU" baseline="0" dirty="0"/>
              <a:t>Для облегчения подготовки отчётности реализована обработка подготовка межстрановой отчётности. Она подбирает российские организации которыми владеют иностранные организации. И выводит какие отчеты по ним подготовлены.</a:t>
            </a:r>
          </a:p>
          <a:p>
            <a:r>
              <a:rPr lang="ru-RU" baseline="0" dirty="0"/>
              <a:t>Данные для определения списка организаций для подготовки отчетности МГК обработка берет также и поступления инвестиций а так же из регистра моделирования движений инвестиций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7303490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ценка налоговых рисков по индикаторам </a:t>
            </a:r>
            <a:r>
              <a:rPr lang="en-US" dirty="0"/>
              <a:t>BEPS</a:t>
            </a:r>
            <a:r>
              <a:rPr lang="ru-RU" dirty="0"/>
              <a:t>. Это группа индикаторов предложенная группой по экономическому сотрудничеству и развитию. Эти метрики позволяют оценить риски возможных претензий ФНС. Например по основанию что прибыль перемещена из</a:t>
            </a:r>
            <a:r>
              <a:rPr lang="ru-RU" baseline="0" dirty="0"/>
              <a:t> юрисдикции в которой происходит основная деятельность в другую юрисдикцию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545144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у и в конце хотелось упоминать о функциональности </a:t>
            </a:r>
            <a:r>
              <a:rPr lang="ru-RU" dirty="0" err="1"/>
              <a:t>дашбордов</a:t>
            </a:r>
            <a:r>
              <a:rPr lang="ru-RU" dirty="0"/>
              <a:t> которые тоже можно использовать для оценки</a:t>
            </a:r>
            <a:r>
              <a:rPr lang="ru-RU" baseline="0" dirty="0"/>
              <a:t> эффективности налоговой функции группы компаний.</a:t>
            </a:r>
          </a:p>
          <a:p>
            <a:r>
              <a:rPr lang="ru-RU" dirty="0"/>
              <a:t>В системе есть возможность</a:t>
            </a:r>
            <a:r>
              <a:rPr lang="ru-RU" baseline="0" dirty="0"/>
              <a:t> сформировать наглядные </a:t>
            </a:r>
            <a:r>
              <a:rPr lang="ru-RU" baseline="0" dirty="0" err="1"/>
              <a:t>дашборды</a:t>
            </a:r>
            <a:r>
              <a:rPr lang="ru-RU" baseline="0" dirty="0"/>
              <a:t>, например с анализом и контролем частоты подачи уточнённых деклараций в разрезе видов налогов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1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6443401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6" name="Образ слайда 1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47107" name="Заметки 2"/>
          <p:cNvSpPr>
            <a:spLocks noGrp="1"/>
          </p:cNvSpPr>
          <p:nvPr>
            <p:ph type="body" idx="1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/>
          <a:p>
            <a:endParaRPr lang="ru-RU" altLang="ru-RU" dirty="0"/>
          </a:p>
        </p:txBody>
      </p:sp>
      <p:sp>
        <p:nvSpPr>
          <p:cNvPr id="47108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 w="9525"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 cap="sq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/>
          <a:lstStyle>
            <a:lvl1pPr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rgbClr val="006600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912813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60AD629-4B92-4593-B807-E282DEA2D240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+mn-cs"/>
              </a:rPr>
              <a:pPr marL="0" marR="0" lvl="0" indent="0" algn="r" defTabSz="912813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859015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1" dirty="0"/>
              <a:t>Что такое КИК?</a:t>
            </a:r>
          </a:p>
          <a:p>
            <a:r>
              <a:rPr lang="ru-RU" dirty="0"/>
              <a:t>организация, не признаваемая налоговым резидентом Российской Федерации, контролирующим лицом которой являются организация и (или) физическое лицо, признаваемые налоговыми резидентами Российской Федерации, или </a:t>
            </a:r>
          </a:p>
          <a:p>
            <a:r>
              <a:rPr lang="ru-RU"/>
              <a:t>иностранная структура без образования юридического лица (ИСБОЮЛ), контролирующим лицом которой являются организация и (или) физическое лицо, признаваемые налоговыми резидентами Российской Федерации.</a:t>
            </a:r>
          </a:p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2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497495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Учёт</a:t>
            </a:r>
            <a:r>
              <a:rPr lang="ru-RU" baseline="0" dirty="0"/>
              <a:t> КИК состоит из 4 этапов. Два из них как бы учётные и два отчётных по итогам года. Учётные это собственно операции приобретение и выбытие бизнеса, и уведомление об участии в ИК. При изменении участия в ИК необходимо подавать уведомления не позднее 3 месяцев с момента изменения основания участия. Уведомление о КИК подаётся до 20 марта, а декларации до 28 марта и 30 апреля соответственно.</a:t>
            </a:r>
          </a:p>
          <a:p>
            <a:endParaRPr lang="ru-RU" baseline="0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3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402095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перации поступление/выбытия инвестиций реализованы соответствующими документами. На основании движений</a:t>
            </a:r>
            <a:r>
              <a:rPr lang="ru-RU" baseline="0" dirty="0"/>
              <a:t> документов формируется отчёт структура владения. А Поскольку уведомления об участии имеют несколько оснований и их нужно предавать в налоговую в определённые сроки в системе реализована обработка реестр уведомлений которая позволяет отслеживать статусы участников и подсказывает когда и какие уведомления нужно подать. С уведомлениями о кик немного сложнее. Часть данных в них нужно заполнять уже имея финансовую отчётность иностранных компаний на руках. Это например касается налоговых освобождений КИК. Здесь уже нужно создать модель налоговых регистров КИК через справочник Статей и заполнить или загрузить данные в налоговый регистр. Эти данные подтягиваются в уведомление и потом ещё используются для заполнения налоговых деклараций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4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651397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оступление и выбытие инвестиций документы близнецы.</a:t>
            </a:r>
            <a:r>
              <a:rPr lang="ru-RU" baseline="0" dirty="0"/>
              <a:t> Просто один делает движения в плюс другой в минус. </a:t>
            </a:r>
          </a:p>
          <a:p>
            <a:r>
              <a:rPr lang="ru-RU" baseline="0" dirty="0"/>
              <a:t>Основные реквизиты это организация инвестор и объект инвестирования и доля участия в процентах. Так же на форме документа видные дополнительные реквизиты для учета МСФО и РСБУ.</a:t>
            </a:r>
          </a:p>
          <a:p>
            <a:r>
              <a:rPr lang="ru-RU" baseline="0" dirty="0"/>
              <a:t>Что в нём необычного это возможность проводить по одному или нескольким сценариям. Это нужно для того если фирма использует например разные моменты принятия по МСФО и налоговому учету. Но поскольку МСФО и КИК обычно ведут одни и те же люди можно исключить двойной ввод и вводить документы сразу по двум сценариям. Кроме того можно в настройках включить ещё и произвольные сценарий чтобы планировать инвестиции на будущее. В настройках можно отключить ввод документа по нескольким сценариям и тогда документ сильно упростится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5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052716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На основании</a:t>
            </a:r>
            <a:r>
              <a:rPr lang="ru-RU" baseline="0" dirty="0"/>
              <a:t> движений документов поступления и выбытия формируется отчёт о структуре владения. Который позволяет например как наглядно отследить взаимосвязи в прямых долях так и посмотреть эффективные доли, вывести их в виде таблицы. Кроме того отчёт имеет возможность моделирования. Можно например добавить строку владения и посмотреть как у нас изменится структура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6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1000012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Реестр</a:t>
            </a:r>
            <a:r>
              <a:rPr lang="ru-RU" baseline="0" dirty="0"/>
              <a:t> уведомлений позволяет отслеживать по каким организациям какие уведомления и когда нужно подать. В верхней табличной части отображаются инвесторы которые должны подавать уведомления, а в нижней соответственно какие и когда. Вот у нас УХ Дельта должна подать уведомление о начале участия. Но вот проведём документ поступления и уже мы должны подать ещё и уведомлений об изменении доли участи.</a:t>
            </a:r>
          </a:p>
          <a:p>
            <a:r>
              <a:rPr lang="ru-RU" baseline="0" dirty="0"/>
              <a:t>Документ уведомления имеет две закладки в виде обычного учётного документа по которому заполняется представление. Это представление тоже можно редактировать.</a:t>
            </a:r>
          </a:p>
          <a:p>
            <a:r>
              <a:rPr lang="ru-RU" baseline="0" dirty="0"/>
              <a:t>Если же у вас какой-то очень сложный учет КИК то автоматическое заполнение вообще можно отключить и заполнять их вручную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7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23838824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В демо базе уже есть готовая модель,</a:t>
            </a:r>
            <a:r>
              <a:rPr lang="ru-RU" baseline="0" dirty="0"/>
              <a:t> которую фирма 1С создала совместно с компанией КПМГ, её можно выгрузить из демо-базы и загрузить рабочую. Но она довольно сложная. Подразумевается что кик в ней большая компания со своей большой бухгалтерией. Формы сбора данных рассылаются на </a:t>
            </a:r>
            <a:r>
              <a:rPr lang="ru-RU" baseline="0" dirty="0" err="1"/>
              <a:t>КИКи</a:t>
            </a:r>
            <a:r>
              <a:rPr lang="ru-RU" baseline="0" dirty="0"/>
              <a:t> они их заполняют потом отправляют обратно их загружают в систему потом на основании их заполняют сводный регистр и потом из него уже заполняются декларации.</a:t>
            </a:r>
          </a:p>
          <a:p>
            <a:r>
              <a:rPr lang="ru-RU" baseline="0" dirty="0"/>
              <a:t>Если же </a:t>
            </a:r>
            <a:r>
              <a:rPr lang="ru-RU" baseline="0" dirty="0" err="1"/>
              <a:t>КИКи</a:t>
            </a:r>
            <a:r>
              <a:rPr lang="ru-RU" baseline="0" dirty="0"/>
              <a:t> учитываю два </a:t>
            </a:r>
            <a:r>
              <a:rPr lang="ru-RU" baseline="0" dirty="0" err="1"/>
              <a:t>МСФОшника</a:t>
            </a:r>
            <a:r>
              <a:rPr lang="ru-RU" baseline="0" dirty="0"/>
              <a:t>, то заставлять их заполнять ФСД и потом из них сводный регистр несколько неправильно.</a:t>
            </a:r>
          </a:p>
          <a:p>
            <a:r>
              <a:rPr lang="ru-RU" baseline="0" dirty="0"/>
              <a:t>И сейчас мы рассмотрим как создаётся модель.</a:t>
            </a:r>
          </a:p>
          <a:p>
            <a:r>
              <a:rPr lang="ru-RU" baseline="0" dirty="0"/>
              <a:t>По сути элементы справочника Статьи налоговых регистров КИК это строки налогового регистра КИК. В элементе можно указать код поля налоговой декларации и тогда это значение из регистра кик попадёт в декларацию.</a:t>
            </a:r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8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536839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Описание </a:t>
            </a:r>
            <a:r>
              <a:rPr lang="ru-RU" baseline="0" dirty="0"/>
              <a:t>сквозного упрощенного процесса.</a:t>
            </a:r>
          </a:p>
          <a:p>
            <a:r>
              <a:rPr lang="ru-RU" baseline="0" dirty="0"/>
              <a:t>Создаём элемент справочника налогового регистра КИК. Заполняем код из декларации.</a:t>
            </a:r>
          </a:p>
          <a:p>
            <a:r>
              <a:rPr lang="ru-RU" baseline="0" dirty="0"/>
              <a:t>Создаём вид отчёта. Нужно указать в нём колонку значение и аналитику. Аналитику нужно указывать чтобы рассчитать потом в регистр по какому инвестору считается налог их ведь может быть несколько. И создаем вид отчёта по справочнику.</a:t>
            </a:r>
          </a:p>
          <a:p>
            <a:r>
              <a:rPr lang="ru-RU" baseline="0" dirty="0"/>
              <a:t>Для того чтобы заполнить экземпляр отчёта налогового регистра, нужно сначала создать регламент и управление отчётным периодом, но это делается одной кнопкой в обработке модель отчётности.</a:t>
            </a:r>
          </a:p>
          <a:p>
            <a:r>
              <a:rPr lang="ru-RU" baseline="0" dirty="0"/>
              <a:t>Создаём экземпляр нашего регистра, заполняем, записываем. Создаём декларацию и заполняем. В налогом регистре можно производить простые и сложные расчёты: получать из базы эффективную долю, умножать на неё прибыль, пересчитывать в разные валюты и т.д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BAF3600-01B7-4D3D-A0CA-AC5E9E639727}" type="slidenum">
              <a:rPr lang="ru-RU" altLang="ru-RU" smtClean="0"/>
              <a:pPr/>
              <a:t>9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21580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756380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192931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583434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194475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892527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31063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0202373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4443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4539221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5022732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169040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750659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72461850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4802805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43658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001803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727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9441593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439863" y="1060450"/>
            <a:ext cx="8642350" cy="2255838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39863" y="3403600"/>
            <a:ext cx="8642350" cy="156527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929138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724005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04688342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5535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5813" y="1616075"/>
            <a:ext cx="9937750" cy="2695575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5813" y="4337050"/>
            <a:ext cx="9937750" cy="1417638"/>
          </a:xfrm>
        </p:spPr>
        <p:txBody>
          <a:bodyPr/>
          <a:lstStyle>
            <a:lvl1pPr marL="0" indent="0">
              <a:buNone/>
              <a:defRPr sz="2400"/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1872203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7565414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05489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0755822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32375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307017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5576659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472488" y="107950"/>
            <a:ext cx="2733675" cy="44926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271463" y="107950"/>
            <a:ext cx="8048625" cy="44926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238253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271463" y="107950"/>
            <a:ext cx="10934700" cy="44926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6518630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12988" y="107950"/>
            <a:ext cx="8893175" cy="102235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271463" y="1606550"/>
            <a:ext cx="10934700" cy="2994025"/>
          </a:xfrm>
        </p:spPr>
        <p:txBody>
          <a:bodyPr/>
          <a:lstStyle/>
          <a:p>
            <a:pPr lvl="0"/>
            <a:endParaRPr lang="ru-RU" noProof="0"/>
          </a:p>
        </p:txBody>
      </p:sp>
    </p:spTree>
    <p:extLst>
      <p:ext uri="{BB962C8B-B14F-4D97-AF65-F5344CB8AC3E}">
        <p14:creationId xmlns:p14="http://schemas.microsoft.com/office/powerpoint/2010/main" val="31348080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370319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27146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15013" y="1606550"/>
            <a:ext cx="5391150" cy="299402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0055971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7716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18535446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9867040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990374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200667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6785802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7987309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83618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0899535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692653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344488"/>
            <a:ext cx="9937750" cy="1252537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3750" y="1589088"/>
            <a:ext cx="48736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3750" y="2366963"/>
            <a:ext cx="48736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2475" y="1589088"/>
            <a:ext cx="4899025" cy="77787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2475" y="2366963"/>
            <a:ext cx="4899025" cy="348138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836283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244" y="-4140243"/>
            <a:ext cx="324158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5257393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6530475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4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922" indent="0">
              <a:buNone/>
              <a:defRPr sz="1890"/>
            </a:lvl2pPr>
            <a:lvl3pPr marL="863844" indent="0">
              <a:buNone/>
              <a:defRPr sz="1701"/>
            </a:lvl3pPr>
            <a:lvl4pPr marL="1295766" indent="0">
              <a:buNone/>
              <a:defRPr sz="1512"/>
            </a:lvl4pPr>
            <a:lvl5pPr marL="1727687" indent="0">
              <a:buNone/>
              <a:defRPr sz="1512"/>
            </a:lvl5pPr>
            <a:lvl6pPr marL="2159610" indent="0">
              <a:buNone/>
              <a:defRPr sz="1512"/>
            </a:lvl6pPr>
            <a:lvl7pPr marL="2591531" indent="0">
              <a:buNone/>
              <a:defRPr sz="1512"/>
            </a:lvl7pPr>
            <a:lvl8pPr marL="3023453" indent="0">
              <a:buNone/>
              <a:defRPr sz="1512"/>
            </a:lvl8pPr>
            <a:lvl9pPr marL="3455375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5550811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0383696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3" y="1588181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3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1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922" indent="0">
              <a:buNone/>
              <a:defRPr sz="1890" b="1"/>
            </a:lvl2pPr>
            <a:lvl3pPr marL="863844" indent="0">
              <a:buNone/>
              <a:defRPr sz="1701" b="1"/>
            </a:lvl3pPr>
            <a:lvl4pPr marL="1295766" indent="0">
              <a:buNone/>
              <a:defRPr sz="1512" b="1"/>
            </a:lvl4pPr>
            <a:lvl5pPr marL="1727687" indent="0">
              <a:buNone/>
              <a:defRPr sz="1512" b="1"/>
            </a:lvl5pPr>
            <a:lvl6pPr marL="2159610" indent="0">
              <a:buNone/>
              <a:defRPr sz="1512" b="1"/>
            </a:lvl6pPr>
            <a:lvl7pPr marL="2591531" indent="0">
              <a:buNone/>
              <a:defRPr sz="1512" b="1"/>
            </a:lvl7pPr>
            <a:lvl8pPr marL="3023453" indent="0">
              <a:buNone/>
              <a:defRPr sz="1512" b="1"/>
            </a:lvl8pPr>
            <a:lvl9pPr marL="3455375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10796570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8282792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81362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3"/>
            </a:lvl1pPr>
            <a:lvl2pPr>
              <a:defRPr sz="2645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26308346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5" y="431912"/>
            <a:ext cx="3716669" cy="1511691"/>
          </a:xfrm>
        </p:spPr>
        <p:txBody>
          <a:bodyPr anchor="b"/>
          <a:lstStyle>
            <a:lvl1pPr>
              <a:defRPr sz="3023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3"/>
            </a:lvl1pPr>
            <a:lvl2pPr marL="431922" indent="0">
              <a:buNone/>
              <a:defRPr sz="2645"/>
            </a:lvl2pPr>
            <a:lvl3pPr marL="863844" indent="0">
              <a:buNone/>
              <a:defRPr sz="2268"/>
            </a:lvl3pPr>
            <a:lvl4pPr marL="1295766" indent="0">
              <a:buNone/>
              <a:defRPr sz="1890"/>
            </a:lvl4pPr>
            <a:lvl5pPr marL="1727687" indent="0">
              <a:buNone/>
              <a:defRPr sz="1890"/>
            </a:lvl5pPr>
            <a:lvl6pPr marL="2159610" indent="0">
              <a:buNone/>
              <a:defRPr sz="1890"/>
            </a:lvl6pPr>
            <a:lvl7pPr marL="2591531" indent="0">
              <a:buNone/>
              <a:defRPr sz="1890"/>
            </a:lvl7pPr>
            <a:lvl8pPr marL="3023453" indent="0">
              <a:buNone/>
              <a:defRPr sz="1890"/>
            </a:lvl8pPr>
            <a:lvl9pPr marL="3455375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5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922" indent="0">
              <a:buNone/>
              <a:defRPr sz="1323"/>
            </a:lvl2pPr>
            <a:lvl3pPr marL="863844" indent="0">
              <a:buNone/>
              <a:defRPr sz="1134"/>
            </a:lvl3pPr>
            <a:lvl4pPr marL="1295766" indent="0">
              <a:buNone/>
              <a:defRPr sz="945"/>
            </a:lvl4pPr>
            <a:lvl5pPr marL="1727687" indent="0">
              <a:buNone/>
              <a:defRPr sz="945"/>
            </a:lvl5pPr>
            <a:lvl6pPr marL="2159610" indent="0">
              <a:buNone/>
              <a:defRPr sz="945"/>
            </a:lvl6pPr>
            <a:lvl7pPr marL="2591531" indent="0">
              <a:buNone/>
              <a:defRPr sz="945"/>
            </a:lvl7pPr>
            <a:lvl8pPr marL="3023453" indent="0">
              <a:buNone/>
              <a:defRPr sz="945"/>
            </a:lvl8pPr>
            <a:lvl9pPr marL="3455375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410677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75057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59756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3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9614729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ChangeArrowheads="1"/>
          </p:cNvSpPr>
          <p:nvPr userDrawn="1"/>
        </p:nvSpPr>
        <p:spPr bwMode="auto">
          <a:xfrm rot="5400000">
            <a:off x="4140619" y="-4140619"/>
            <a:ext cx="3240838" cy="11522075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chemeClr val="bg1">
                  <a:alpha val="0"/>
                </a:scheme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711168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latin typeface="+mn-lt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4245425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6142" y="1615175"/>
            <a:ext cx="9937790" cy="2696448"/>
          </a:xfrm>
        </p:spPr>
        <p:txBody>
          <a:bodyPr anchor="b"/>
          <a:lstStyle>
            <a:lvl1pPr>
              <a:defRPr sz="5668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6142" y="4337115"/>
            <a:ext cx="9937790" cy="141721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68"/>
            </a:lvl1pPr>
            <a:lvl2pPr marL="431836" indent="0">
              <a:buNone/>
              <a:defRPr sz="1890"/>
            </a:lvl2pPr>
            <a:lvl3pPr marL="863671" indent="0">
              <a:buNone/>
              <a:defRPr sz="1701"/>
            </a:lvl3pPr>
            <a:lvl4pPr marL="1295507" indent="0">
              <a:buNone/>
              <a:defRPr sz="1512"/>
            </a:lvl4pPr>
            <a:lvl5pPr marL="1727341" indent="0">
              <a:buNone/>
              <a:defRPr sz="1512"/>
            </a:lvl5pPr>
            <a:lvl6pPr marL="2159178" indent="0">
              <a:buNone/>
              <a:defRPr sz="1512"/>
            </a:lvl6pPr>
            <a:lvl7pPr marL="2591012" indent="0">
              <a:buNone/>
              <a:defRPr sz="1512"/>
            </a:lvl7pPr>
            <a:lvl8pPr marL="3022848" indent="0">
              <a:buNone/>
              <a:defRPr sz="1512"/>
            </a:lvl8pPr>
            <a:lvl9pPr marL="3454684" indent="0">
              <a:buNone/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852713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792142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724652"/>
            <a:ext cx="4872878" cy="411215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98190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43" y="344930"/>
            <a:ext cx="9937790" cy="1252244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94157" y="1588182"/>
            <a:ext cx="4874877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794157" y="2366516"/>
            <a:ext cx="4874877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33050" y="1588182"/>
            <a:ext cx="4898883" cy="778340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268" b="1"/>
            </a:lvl1pPr>
            <a:lvl2pPr marL="431836" indent="0">
              <a:buNone/>
              <a:defRPr sz="1890" b="1"/>
            </a:lvl2pPr>
            <a:lvl3pPr marL="863671" indent="0">
              <a:buNone/>
              <a:defRPr sz="1701" b="1"/>
            </a:lvl3pPr>
            <a:lvl4pPr marL="1295507" indent="0">
              <a:buNone/>
              <a:defRPr sz="1512" b="1"/>
            </a:lvl4pPr>
            <a:lvl5pPr marL="1727341" indent="0">
              <a:buNone/>
              <a:defRPr sz="1512" b="1"/>
            </a:lvl5pPr>
            <a:lvl6pPr marL="2159178" indent="0">
              <a:buNone/>
              <a:defRPr sz="1512" b="1"/>
            </a:lvl6pPr>
            <a:lvl7pPr marL="2591012" indent="0">
              <a:buNone/>
              <a:defRPr sz="1512" b="1"/>
            </a:lvl7pPr>
            <a:lvl8pPr marL="3022848" indent="0">
              <a:buNone/>
              <a:defRPr sz="1512" b="1"/>
            </a:lvl8pPr>
            <a:lvl9pPr marL="3454684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33050" y="2366516"/>
            <a:ext cx="4898883" cy="348228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16868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4951635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017094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>
              <a:defRPr sz="3022"/>
            </a:lvl1pPr>
            <a:lvl2pPr>
              <a:defRPr sz="2644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1668748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4157" y="431912"/>
            <a:ext cx="3716669" cy="1511691"/>
          </a:xfrm>
        </p:spPr>
        <p:txBody>
          <a:bodyPr anchor="b"/>
          <a:lstStyle>
            <a:lvl1pPr>
              <a:defRPr sz="302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8883" y="932810"/>
            <a:ext cx="5833050" cy="460555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022"/>
            </a:lvl1pPr>
            <a:lvl2pPr marL="431836" indent="0">
              <a:buNone/>
              <a:defRPr sz="2644"/>
            </a:lvl2pPr>
            <a:lvl3pPr marL="863671" indent="0">
              <a:buNone/>
              <a:defRPr sz="2268"/>
            </a:lvl3pPr>
            <a:lvl4pPr marL="1295507" indent="0">
              <a:buNone/>
              <a:defRPr sz="1890"/>
            </a:lvl4pPr>
            <a:lvl5pPr marL="1727341" indent="0">
              <a:buNone/>
              <a:defRPr sz="1890"/>
            </a:lvl5pPr>
            <a:lvl6pPr marL="2159178" indent="0">
              <a:buNone/>
              <a:defRPr sz="1890"/>
            </a:lvl6pPr>
            <a:lvl7pPr marL="2591012" indent="0">
              <a:buNone/>
              <a:defRPr sz="1890"/>
            </a:lvl7pPr>
            <a:lvl8pPr marL="3022848" indent="0">
              <a:buNone/>
              <a:defRPr sz="1890"/>
            </a:lvl8pPr>
            <a:lvl9pPr marL="3454684" indent="0">
              <a:buNone/>
              <a:defRPr sz="189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4157" y="1943603"/>
            <a:ext cx="3716669" cy="36022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512"/>
            </a:lvl1pPr>
            <a:lvl2pPr marL="431836" indent="0">
              <a:buNone/>
              <a:defRPr sz="1323"/>
            </a:lvl2pPr>
            <a:lvl3pPr marL="863671" indent="0">
              <a:buNone/>
              <a:defRPr sz="1134"/>
            </a:lvl3pPr>
            <a:lvl4pPr marL="1295507" indent="0">
              <a:buNone/>
              <a:defRPr sz="945"/>
            </a:lvl4pPr>
            <a:lvl5pPr marL="1727341" indent="0">
              <a:buNone/>
              <a:defRPr sz="945"/>
            </a:lvl5pPr>
            <a:lvl6pPr marL="2159178" indent="0">
              <a:buNone/>
              <a:defRPr sz="945"/>
            </a:lvl6pPr>
            <a:lvl7pPr marL="2591012" indent="0">
              <a:buNone/>
              <a:defRPr sz="945"/>
            </a:lvl7pPr>
            <a:lvl8pPr marL="3022848" indent="0">
              <a:buNone/>
              <a:defRPr sz="945"/>
            </a:lvl8pPr>
            <a:lvl9pPr marL="3454684" indent="0">
              <a:buNone/>
              <a:defRPr sz="945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3992188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49820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43" y="1724652"/>
            <a:ext cx="9937790" cy="4112159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1174549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245487" y="0"/>
            <a:ext cx="2484447" cy="5836806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792156" y="0"/>
            <a:ext cx="7261308" cy="5836806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96138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ChangeArrowheads="1"/>
          </p:cNvSpPr>
          <p:nvPr userDrawn="1"/>
        </p:nvSpPr>
        <p:spPr bwMode="auto">
          <a:xfrm>
            <a:off x="1290233" y="313515"/>
            <a:ext cx="5761038" cy="5619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85000"/>
              </a:lnSpc>
              <a:defRPr/>
            </a:pPr>
            <a:r>
              <a:rPr lang="ru-RU" altLang="ru-RU" sz="1795" dirty="0">
                <a:solidFill>
                  <a:srgbClr val="FFFFFF"/>
                </a:solidFill>
              </a:rPr>
              <a:t>1С:УПРАВЛЕНИЕ</a:t>
            </a:r>
          </a:p>
          <a:p>
            <a:pPr eaLnBrk="1" hangingPunct="1">
              <a:lnSpc>
                <a:spcPct val="85000"/>
              </a:lnSpc>
              <a:defRPr/>
            </a:pPr>
            <a:r>
              <a:rPr lang="ru-RU" altLang="ru-RU" sz="1795" dirty="0" err="1">
                <a:solidFill>
                  <a:srgbClr val="FFFFFF"/>
                </a:solidFill>
              </a:rPr>
              <a:t>холдингОМ</a:t>
            </a:r>
            <a:r>
              <a:rPr lang="ru-RU" altLang="ru-RU" sz="1795" dirty="0">
                <a:solidFill>
                  <a:srgbClr val="FFFFFF"/>
                </a:solidFill>
              </a:rPr>
              <a:t> 8</a:t>
            </a:r>
          </a:p>
        </p:txBody>
      </p:sp>
      <p:pic>
        <p:nvPicPr>
          <p:cNvPr id="3" name="Picture 16" descr="Layer 2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034" y="226507"/>
            <a:ext cx="1224220" cy="7230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549742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D20000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35463" y="1266907"/>
            <a:ext cx="11250026" cy="496663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1CF282-6ACF-4085-9ADF-8D9C1CF6F6E3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2967903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10164" y="4164113"/>
            <a:ext cx="9793764" cy="1287035"/>
          </a:xfrm>
        </p:spPr>
        <p:txBody>
          <a:bodyPr anchor="t"/>
          <a:lstStyle>
            <a:lvl1pPr algn="l">
              <a:defRPr sz="378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10164" y="2746581"/>
            <a:ext cx="9793764" cy="1417538"/>
          </a:xfrm>
        </p:spPr>
        <p:txBody>
          <a:bodyPr anchor="b"/>
          <a:lstStyle>
            <a:lvl1pPr marL="0" indent="0">
              <a:buNone/>
              <a:defRPr sz="1890"/>
            </a:lvl1pPr>
            <a:lvl2pPr marL="432008" indent="0">
              <a:buNone/>
              <a:defRPr sz="1701"/>
            </a:lvl2pPr>
            <a:lvl3pPr marL="864017" indent="0">
              <a:buNone/>
              <a:defRPr sz="1512"/>
            </a:lvl3pPr>
            <a:lvl4pPr marL="1296025" indent="0">
              <a:buNone/>
              <a:defRPr sz="1323"/>
            </a:lvl4pPr>
            <a:lvl5pPr marL="1728033" indent="0">
              <a:buNone/>
              <a:defRPr sz="1323"/>
            </a:lvl5pPr>
            <a:lvl6pPr marL="2160041" indent="0">
              <a:buNone/>
              <a:defRPr sz="1323"/>
            </a:lvl6pPr>
            <a:lvl7pPr marL="2592050" indent="0">
              <a:buNone/>
              <a:defRPr sz="1323"/>
            </a:lvl7pPr>
            <a:lvl8pPr marL="3024058" indent="0">
              <a:buNone/>
              <a:defRPr sz="1323"/>
            </a:lvl8pPr>
            <a:lvl9pPr marL="3456066" indent="0">
              <a:buNone/>
              <a:defRPr sz="1323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71AD6D-C170-4723-8E2A-5CB32489295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15557591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36024" y="1198538"/>
            <a:ext cx="5528996" cy="4966634"/>
          </a:xfrm>
        </p:spPr>
        <p:txBody>
          <a:bodyPr/>
          <a:lstStyle>
            <a:lvl1pPr>
              <a:defRPr sz="2646"/>
            </a:lvl1pPr>
            <a:lvl2pPr>
              <a:defRPr sz="2268"/>
            </a:lvl2pPr>
            <a:lvl3pPr>
              <a:defRPr sz="1890"/>
            </a:lvl3pPr>
            <a:lvl4pPr>
              <a:defRPr sz="1701"/>
            </a:lvl4pPr>
            <a:lvl5pPr>
              <a:defRPr sz="1701"/>
            </a:lvl5pPr>
            <a:lvl6pPr>
              <a:defRPr sz="1701"/>
            </a:lvl6pPr>
            <a:lvl7pPr>
              <a:defRPr sz="1701"/>
            </a:lvl7pPr>
            <a:lvl8pPr>
              <a:defRPr sz="1701"/>
            </a:lvl8pPr>
            <a:lvl9pPr>
              <a:defRPr sz="17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857055" y="1198538"/>
            <a:ext cx="5528996" cy="4966634"/>
          </a:xfrm>
        </p:spPr>
        <p:txBody>
          <a:bodyPr/>
          <a:lstStyle>
            <a:lvl1pPr>
              <a:defRPr sz="2646"/>
            </a:lvl1pPr>
            <a:lvl2pPr>
              <a:defRPr sz="2268"/>
            </a:lvl2pPr>
            <a:lvl3pPr>
              <a:defRPr sz="1890"/>
            </a:lvl3pPr>
            <a:lvl4pPr>
              <a:defRPr sz="1701"/>
            </a:lvl4pPr>
            <a:lvl5pPr>
              <a:defRPr sz="1701"/>
            </a:lvl5pPr>
            <a:lvl6pPr>
              <a:defRPr sz="1701"/>
            </a:lvl6pPr>
            <a:lvl7pPr>
              <a:defRPr sz="1701"/>
            </a:lvl7pPr>
            <a:lvl8pPr>
              <a:defRPr sz="1701"/>
            </a:lvl8pPr>
            <a:lvl9pPr>
              <a:defRPr sz="1701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ADF1C0-E9A7-4D63-B683-B732CD00ACD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14162185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04" y="259508"/>
            <a:ext cx="10369868" cy="1080029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76104" y="1450540"/>
            <a:ext cx="5090917" cy="604516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76104" y="2055061"/>
            <a:ext cx="5090917" cy="3733601"/>
          </a:xfrm>
        </p:spPr>
        <p:txBody>
          <a:bodyPr/>
          <a:lstStyle>
            <a:lvl1pPr>
              <a:defRPr sz="2268"/>
            </a:lvl1pPr>
            <a:lvl2pPr>
              <a:defRPr sz="1890"/>
            </a:lvl2pPr>
            <a:lvl3pPr>
              <a:defRPr sz="1701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853065" y="1450540"/>
            <a:ext cx="5092917" cy="604516"/>
          </a:xfrm>
        </p:spPr>
        <p:txBody>
          <a:bodyPr anchor="b"/>
          <a:lstStyle>
            <a:lvl1pPr marL="0" indent="0">
              <a:buNone/>
              <a:defRPr sz="2268" b="1"/>
            </a:lvl1pPr>
            <a:lvl2pPr marL="432008" indent="0">
              <a:buNone/>
              <a:defRPr sz="1890" b="1"/>
            </a:lvl2pPr>
            <a:lvl3pPr marL="864017" indent="0">
              <a:buNone/>
              <a:defRPr sz="1701" b="1"/>
            </a:lvl3pPr>
            <a:lvl4pPr marL="1296025" indent="0">
              <a:buNone/>
              <a:defRPr sz="1512" b="1"/>
            </a:lvl4pPr>
            <a:lvl5pPr marL="1728033" indent="0">
              <a:buNone/>
              <a:defRPr sz="1512" b="1"/>
            </a:lvl5pPr>
            <a:lvl6pPr marL="2160041" indent="0">
              <a:buNone/>
              <a:defRPr sz="1512" b="1"/>
            </a:lvl6pPr>
            <a:lvl7pPr marL="2592050" indent="0">
              <a:buNone/>
              <a:defRPr sz="1512" b="1"/>
            </a:lvl7pPr>
            <a:lvl8pPr marL="3024058" indent="0">
              <a:buNone/>
              <a:defRPr sz="1512" b="1"/>
            </a:lvl8pPr>
            <a:lvl9pPr marL="3456066" indent="0">
              <a:buNone/>
              <a:defRPr sz="1512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53065" y="2055061"/>
            <a:ext cx="5092917" cy="3733601"/>
          </a:xfrm>
        </p:spPr>
        <p:txBody>
          <a:bodyPr/>
          <a:lstStyle>
            <a:lvl1pPr>
              <a:defRPr sz="2268"/>
            </a:lvl1pPr>
            <a:lvl2pPr>
              <a:defRPr sz="1890"/>
            </a:lvl2pPr>
            <a:lvl3pPr>
              <a:defRPr sz="1701"/>
            </a:lvl3pPr>
            <a:lvl4pPr>
              <a:defRPr sz="1512"/>
            </a:lvl4pPr>
            <a:lvl5pPr>
              <a:defRPr sz="1512"/>
            </a:lvl5pPr>
            <a:lvl6pPr>
              <a:defRPr sz="1512"/>
            </a:lvl6pPr>
            <a:lvl7pPr>
              <a:defRPr sz="1512"/>
            </a:lvl7pPr>
            <a:lvl8pPr>
              <a:defRPr sz="1512"/>
            </a:lvl8pPr>
            <a:lvl9pPr>
              <a:defRPr sz="151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9DE855B-D462-4DB8-849E-2ED7BF9A205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286865876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4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F5F9BE-5C56-4311-AD10-A070B19D2229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0504075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3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5EFFB7-3425-4BB7-9578-97524A640E1D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90624626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6120" y="258007"/>
            <a:ext cx="3790683" cy="1098030"/>
          </a:xfrm>
        </p:spPr>
        <p:txBody>
          <a:bodyPr anchor="b"/>
          <a:lstStyle>
            <a:lvl1pPr algn="l">
              <a:defRPr sz="189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504811" y="258013"/>
            <a:ext cx="6441160" cy="5530650"/>
          </a:xfrm>
        </p:spPr>
        <p:txBody>
          <a:bodyPr/>
          <a:lstStyle>
            <a:lvl1pPr>
              <a:defRPr sz="3024"/>
            </a:lvl1pPr>
            <a:lvl2pPr>
              <a:defRPr sz="2646"/>
            </a:lvl2pPr>
            <a:lvl3pPr>
              <a:defRPr sz="2268"/>
            </a:lvl3pPr>
            <a:lvl4pPr>
              <a:defRPr sz="1890"/>
            </a:lvl4pPr>
            <a:lvl5pPr>
              <a:defRPr sz="1890"/>
            </a:lvl5pPr>
            <a:lvl6pPr>
              <a:defRPr sz="1890"/>
            </a:lvl6pPr>
            <a:lvl7pPr>
              <a:defRPr sz="1890"/>
            </a:lvl7pPr>
            <a:lvl8pPr>
              <a:defRPr sz="1890"/>
            </a:lvl8pPr>
            <a:lvl9pPr>
              <a:defRPr sz="189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576120" y="1356043"/>
            <a:ext cx="3790683" cy="4432620"/>
          </a:xfrm>
        </p:spPr>
        <p:txBody>
          <a:bodyPr/>
          <a:lstStyle>
            <a:lvl1pPr marL="0" indent="0">
              <a:buNone/>
              <a:defRPr sz="1323"/>
            </a:lvl1pPr>
            <a:lvl2pPr marL="432008" indent="0">
              <a:buNone/>
              <a:defRPr sz="1134"/>
            </a:lvl2pPr>
            <a:lvl3pPr marL="864017" indent="0">
              <a:buNone/>
              <a:defRPr sz="945"/>
            </a:lvl3pPr>
            <a:lvl4pPr marL="1296025" indent="0">
              <a:buNone/>
              <a:defRPr sz="850"/>
            </a:lvl4pPr>
            <a:lvl5pPr marL="1728033" indent="0">
              <a:buNone/>
              <a:defRPr sz="850"/>
            </a:lvl5pPr>
            <a:lvl6pPr marL="2160041" indent="0">
              <a:buNone/>
              <a:defRPr sz="850"/>
            </a:lvl6pPr>
            <a:lvl7pPr marL="2592050" indent="0">
              <a:buNone/>
              <a:defRPr sz="850"/>
            </a:lvl7pPr>
            <a:lvl8pPr marL="3024058" indent="0">
              <a:buNone/>
              <a:defRPr sz="850"/>
            </a:lvl8pPr>
            <a:lvl9pPr marL="3456066" indent="0">
              <a:buNone/>
              <a:defRPr sz="8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2086D0-E710-4988-BD15-936AC9A9BF9F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593013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2973627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58407" y="4536128"/>
            <a:ext cx="6913245" cy="535515"/>
          </a:xfrm>
        </p:spPr>
        <p:txBody>
          <a:bodyPr anchor="b"/>
          <a:lstStyle>
            <a:lvl1pPr algn="l">
              <a:defRPr sz="189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258407" y="579021"/>
            <a:ext cx="6913245" cy="3888105"/>
          </a:xfrm>
        </p:spPr>
        <p:txBody>
          <a:bodyPr/>
          <a:lstStyle>
            <a:lvl1pPr marL="0" indent="0">
              <a:buNone/>
              <a:defRPr sz="3024"/>
            </a:lvl1pPr>
            <a:lvl2pPr marL="432008" indent="0">
              <a:buNone/>
              <a:defRPr sz="2646"/>
            </a:lvl2pPr>
            <a:lvl3pPr marL="864017" indent="0">
              <a:buNone/>
              <a:defRPr sz="2268"/>
            </a:lvl3pPr>
            <a:lvl4pPr marL="1296025" indent="0">
              <a:buNone/>
              <a:defRPr sz="1890"/>
            </a:lvl4pPr>
            <a:lvl5pPr marL="1728033" indent="0">
              <a:buNone/>
              <a:defRPr sz="1890"/>
            </a:lvl5pPr>
            <a:lvl6pPr marL="2160041" indent="0">
              <a:buNone/>
              <a:defRPr sz="1890"/>
            </a:lvl6pPr>
            <a:lvl7pPr marL="2592050" indent="0">
              <a:buNone/>
              <a:defRPr sz="1890"/>
            </a:lvl7pPr>
            <a:lvl8pPr marL="3024058" indent="0">
              <a:buNone/>
              <a:defRPr sz="1890"/>
            </a:lvl8pPr>
            <a:lvl9pPr marL="3456066" indent="0">
              <a:buNone/>
              <a:defRPr sz="189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258407" y="5071637"/>
            <a:ext cx="6913245" cy="760520"/>
          </a:xfrm>
        </p:spPr>
        <p:txBody>
          <a:bodyPr/>
          <a:lstStyle>
            <a:lvl1pPr marL="0" indent="0">
              <a:buNone/>
              <a:defRPr sz="1323"/>
            </a:lvl1pPr>
            <a:lvl2pPr marL="432008" indent="0">
              <a:buNone/>
              <a:defRPr sz="1134"/>
            </a:lvl2pPr>
            <a:lvl3pPr marL="864017" indent="0">
              <a:buNone/>
              <a:defRPr sz="945"/>
            </a:lvl3pPr>
            <a:lvl4pPr marL="1296025" indent="0">
              <a:buNone/>
              <a:defRPr sz="850"/>
            </a:lvl4pPr>
            <a:lvl5pPr marL="1728033" indent="0">
              <a:buNone/>
              <a:defRPr sz="850"/>
            </a:lvl5pPr>
            <a:lvl6pPr marL="2160041" indent="0">
              <a:buNone/>
              <a:defRPr sz="850"/>
            </a:lvl6pPr>
            <a:lvl7pPr marL="2592050" indent="0">
              <a:buNone/>
              <a:defRPr sz="850"/>
            </a:lvl7pPr>
            <a:lvl8pPr marL="3024058" indent="0">
              <a:buNone/>
              <a:defRPr sz="850"/>
            </a:lvl8pPr>
            <a:lvl9pPr marL="3456066" indent="0">
              <a:buNone/>
              <a:defRPr sz="85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6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3C541F-C761-4DA4-9578-88A4F4CB1C44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1249128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707D93-E112-41A4-87BD-150C77AF3842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35282703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573548" y="-25501"/>
            <a:ext cx="2812507" cy="619066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36031" y="-25501"/>
            <a:ext cx="8245485" cy="619066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5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529C2D-0D94-4343-BCF3-B049E30A4E1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70933804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 preserve="1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040370" y="-25501"/>
            <a:ext cx="6079095" cy="102152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136024" y="1198538"/>
            <a:ext cx="5528996" cy="4966634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5857055" y="1198538"/>
            <a:ext cx="5528996" cy="24105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5857055" y="3753107"/>
            <a:ext cx="5528996" cy="24120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7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0EE0658-938F-4976-80CA-35FB727980A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56751192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2040370" y="-25501"/>
            <a:ext cx="6079095" cy="1021528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36024" y="1198538"/>
            <a:ext cx="5528996" cy="24105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5857055" y="1198538"/>
            <a:ext cx="5528996" cy="24105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36024" y="3753107"/>
            <a:ext cx="5528996" cy="24120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857055" y="3753107"/>
            <a:ext cx="5528996" cy="241206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52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ru-RU" altLang="ru-RU" dirty="0"/>
              <a:t>Наименование слайда</a:t>
            </a:r>
          </a:p>
        </p:txBody>
      </p:sp>
      <p:sp>
        <p:nvSpPr>
          <p:cNvPr id="8" name="Rectangle 55"/>
          <p:cNvSpPr>
            <a:spLocks noGrp="1" noChangeArrowheads="1"/>
          </p:cNvSpPr>
          <p:nvPr>
            <p:ph type="sldNum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092B96-2410-4028-ADE9-07991EB55F87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646620600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Title, Tex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7"/>
          <p:cNvSpPr txBox="1">
            <a:spLocks noChangeArrowheads="1"/>
          </p:cNvSpPr>
          <p:nvPr userDrawn="1"/>
        </p:nvSpPr>
        <p:spPr bwMode="auto">
          <a:xfrm>
            <a:off x="-30006" y="6165172"/>
            <a:ext cx="2926186" cy="380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  <a:defRPr/>
            </a:pPr>
            <a:r>
              <a:rPr lang="ru-RU" altLang="ru-RU" sz="1701" b="0" dirty="0">
                <a:solidFill>
                  <a:srgbClr val="5F0000"/>
                </a:solidFill>
              </a:rPr>
              <a:t>1С: Управление холдингом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0867" y="297009"/>
            <a:ext cx="6305135" cy="297008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84069" y="1134031"/>
            <a:ext cx="5256947" cy="47176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833050" y="1134030"/>
            <a:ext cx="5256947" cy="22860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833050" y="3564096"/>
            <a:ext cx="5256947" cy="22875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Rectangle 1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C780476-50E6-4D6E-850F-BD69A5C59596}" type="slidenum">
              <a:rPr lang="ru-RU" altLang="ru-RU"/>
              <a:pPr>
                <a:defRPr/>
              </a:pPr>
              <a:t>‹#›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0786434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93750" y="431800"/>
            <a:ext cx="3716338" cy="151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4899025" y="933450"/>
            <a:ext cx="5832475" cy="4605338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793750" y="1944688"/>
            <a:ext cx="3716338" cy="3600450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3800578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vmlDrawing" Target="../drawings/vmlDrawing1.vml"/><Relationship Id="rId18" Type="http://schemas.openxmlformats.org/officeDocument/2006/relationships/oleObject" Target="../embeddings/oleObject2.bin"/><Relationship Id="rId3" Type="http://schemas.openxmlformats.org/officeDocument/2006/relationships/slideLayout" Target="../slideLayouts/slideLayout41.xml"/><Relationship Id="rId7" Type="http://schemas.openxmlformats.org/officeDocument/2006/relationships/slideLayout" Target="../slideLayouts/slideLayout45.xml"/><Relationship Id="rId12" Type="http://schemas.openxmlformats.org/officeDocument/2006/relationships/theme" Target="../theme/theme4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40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48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tags" Target="../tags/tag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vmlDrawing" Target="../drawings/vmlDrawing2.vml"/><Relationship Id="rId18" Type="http://schemas.openxmlformats.org/officeDocument/2006/relationships/oleObject" Target="../embeddings/oleObject4.bin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heme" Target="../theme/theme5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51.xml"/><Relationship Id="rId16" Type="http://schemas.openxmlformats.org/officeDocument/2006/relationships/oleObject" Target="../embeddings/oleObject3.bin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5" Type="http://schemas.openxmlformats.org/officeDocument/2006/relationships/slideLayout" Target="../slideLayouts/slideLayout54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59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tags" Target="../tags/tag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.xml"/><Relationship Id="rId13" Type="http://schemas.openxmlformats.org/officeDocument/2006/relationships/vmlDrawing" Target="../drawings/vmlDrawing3.vml"/><Relationship Id="rId18" Type="http://schemas.openxmlformats.org/officeDocument/2006/relationships/oleObject" Target="../embeddings/oleObject6.bin"/><Relationship Id="rId3" Type="http://schemas.openxmlformats.org/officeDocument/2006/relationships/slideLayout" Target="../slideLayouts/slideLayout63.xml"/><Relationship Id="rId7" Type="http://schemas.openxmlformats.org/officeDocument/2006/relationships/slideLayout" Target="../slideLayouts/slideLayout67.xml"/><Relationship Id="rId12" Type="http://schemas.openxmlformats.org/officeDocument/2006/relationships/theme" Target="../theme/theme6.xml"/><Relationship Id="rId17" Type="http://schemas.openxmlformats.org/officeDocument/2006/relationships/image" Target="../media/image3.emf"/><Relationship Id="rId2" Type="http://schemas.openxmlformats.org/officeDocument/2006/relationships/slideLayout" Target="../slideLayouts/slideLayout62.xml"/><Relationship Id="rId16" Type="http://schemas.openxmlformats.org/officeDocument/2006/relationships/oleObject" Target="../embeddings/oleObject5.bin"/><Relationship Id="rId1" Type="http://schemas.openxmlformats.org/officeDocument/2006/relationships/slideLayout" Target="../slideLayouts/slideLayout61.xml"/><Relationship Id="rId6" Type="http://schemas.openxmlformats.org/officeDocument/2006/relationships/slideLayout" Target="../slideLayouts/slideLayout66.xml"/><Relationship Id="rId11" Type="http://schemas.openxmlformats.org/officeDocument/2006/relationships/slideLayout" Target="../slideLayouts/slideLayout71.xml"/><Relationship Id="rId5" Type="http://schemas.openxmlformats.org/officeDocument/2006/relationships/slideLayout" Target="../slideLayouts/slideLayout65.xml"/><Relationship Id="rId15" Type="http://schemas.openxmlformats.org/officeDocument/2006/relationships/tags" Target="../tags/tag6.xml"/><Relationship Id="rId10" Type="http://schemas.openxmlformats.org/officeDocument/2006/relationships/slideLayout" Target="../slideLayouts/slideLayout70.xml"/><Relationship Id="rId19" Type="http://schemas.openxmlformats.org/officeDocument/2006/relationships/image" Target="../media/image2.png"/><Relationship Id="rId4" Type="http://schemas.openxmlformats.org/officeDocument/2006/relationships/slideLayout" Target="../slideLayouts/slideLayout64.xml"/><Relationship Id="rId9" Type="http://schemas.openxmlformats.org/officeDocument/2006/relationships/slideLayout" Target="../slideLayouts/slideLayout69.xml"/><Relationship Id="rId14" Type="http://schemas.openxmlformats.org/officeDocument/2006/relationships/tags" Target="../tags/tag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027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1028" name="Picture 16" descr="Layer 2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6791" r:id="rId1"/>
    <p:sldLayoutId id="2147486792" r:id="rId2"/>
    <p:sldLayoutId id="2147486793" r:id="rId3"/>
    <p:sldLayoutId id="2147486794" r:id="rId4"/>
    <p:sldLayoutId id="2147486795" r:id="rId5"/>
    <p:sldLayoutId id="2147486796" r:id="rId6"/>
    <p:sldLayoutId id="2147486797" r:id="rId7"/>
    <p:sldLayoutId id="2147486798" r:id="rId8"/>
    <p:sldLayoutId id="2147486799" r:id="rId9"/>
    <p:sldLayoutId id="2147486800" r:id="rId10"/>
    <p:sldLayoutId id="2147486801" r:id="rId11"/>
    <p:sldLayoutId id="2147486802" r:id="rId12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1" fontAlgn="base" hangingPunct="1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en-US" altLang="ru-RU" sz="2400" b="0">
              <a:latin typeface="Times New Roman" pitchFamily="18" charset="0"/>
            </a:endParaRPr>
          </a:p>
          <a:p>
            <a:pPr algn="ctr" eaLnBrk="1" hangingPunct="1">
              <a:lnSpc>
                <a:spcPct val="150000"/>
              </a:lnSpc>
              <a:defRPr/>
            </a:pPr>
            <a:endParaRPr lang="ru-RU" altLang="ru-RU" sz="2400" b="0">
              <a:latin typeface="Times New Roman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803" r:id="rId1"/>
    <p:sldLayoutId id="2147486804" r:id="rId2"/>
    <p:sldLayoutId id="2147486805" r:id="rId3"/>
    <p:sldLayoutId id="2147486806" r:id="rId4"/>
    <p:sldLayoutId id="2147486807" r:id="rId5"/>
    <p:sldLayoutId id="2147486808" r:id="rId6"/>
    <p:sldLayoutId id="2147486809" r:id="rId7"/>
    <p:sldLayoutId id="2147486810" r:id="rId8"/>
    <p:sldLayoutId id="2147486811" r:id="rId9"/>
    <p:sldLayoutId id="2147486812" r:id="rId10"/>
    <p:sldLayoutId id="2147486813" r:id="rId11"/>
    <p:sldLayoutId id="2147486814" r:id="rId12"/>
    <p:sldLayoutId id="2147486815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2"/>
          <p:cNvSpPr>
            <a:spLocks noGrp="1" noChangeArrowheads="1"/>
          </p:cNvSpPr>
          <p:nvPr>
            <p:ph type="body" idx="1"/>
          </p:nvPr>
        </p:nvSpPr>
        <p:spPr bwMode="auto">
          <a:xfrm>
            <a:off x="271463" y="1606550"/>
            <a:ext cx="10934700" cy="2994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2051" name="Rectangle 13"/>
          <p:cNvSpPr>
            <a:spLocks noGrp="1" noChangeArrowheads="1"/>
          </p:cNvSpPr>
          <p:nvPr>
            <p:ph type="title"/>
          </p:nvPr>
        </p:nvSpPr>
        <p:spPr bwMode="auto">
          <a:xfrm>
            <a:off x="2312988" y="107950"/>
            <a:ext cx="8893175" cy="1022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31" tIns="45716" rIns="91431" bIns="45716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pic>
        <p:nvPicPr>
          <p:cNvPr id="2052" name="Picture 16" descr="Layer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3" name="Picture 16" descr="Layer 2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288" y="152400"/>
            <a:ext cx="1550987" cy="1219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>
            <a:spLocks noChangeArrowheads="1"/>
          </p:cNvSpPr>
          <p:nvPr userDrawn="1"/>
        </p:nvSpPr>
        <p:spPr bwMode="auto">
          <a:xfrm>
            <a:off x="9255125" y="0"/>
            <a:ext cx="2266950" cy="1735138"/>
          </a:xfrm>
          <a:prstGeom prst="rect">
            <a:avLst/>
          </a:prstGeom>
          <a:solidFill>
            <a:srgbClr val="CCFFFF"/>
          </a:solidFill>
          <a:ln>
            <a:noFill/>
          </a:ln>
          <a:effectLst/>
        </p:spPr>
        <p:txBody>
          <a:bodyPr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3534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17" r:id="rId1"/>
    <p:sldLayoutId id="2147486818" r:id="rId2"/>
    <p:sldLayoutId id="2147486819" r:id="rId3"/>
    <p:sldLayoutId id="2147486820" r:id="rId4"/>
    <p:sldLayoutId id="2147486821" r:id="rId5"/>
    <p:sldLayoutId id="2147486822" r:id="rId6"/>
    <p:sldLayoutId id="2147486823" r:id="rId7"/>
    <p:sldLayoutId id="2147486824" r:id="rId8"/>
    <p:sldLayoutId id="2147486825" r:id="rId9"/>
    <p:sldLayoutId id="2147486826" r:id="rId10"/>
    <p:sldLayoutId id="2147486827" r:id="rId11"/>
    <p:sldLayoutId id="2147486828" r:id="rId12"/>
    <p:sldLayoutId id="2147486829" r:id="rId13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2900" kern="1200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5pPr>
      <a:lvl6pPr marL="4572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6pPr>
      <a:lvl7pPr marL="9144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7pPr>
      <a:lvl8pPr marL="13716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8pPr>
      <a:lvl9pPr marL="1828800" algn="l" rtl="0" eaLnBrk="0" fontAlgn="base" hangingPunct="0">
        <a:spcBef>
          <a:spcPct val="0"/>
        </a:spcBef>
        <a:spcAft>
          <a:spcPct val="0"/>
        </a:spcAft>
        <a:defRPr sz="2900">
          <a:solidFill>
            <a:schemeClr val="tx2"/>
          </a:solidFill>
          <a:latin typeface="Futura PT Demi" panose="020B0702020204020303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733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1144588" indent="-230188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4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5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25039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31" r:id="rId1"/>
    <p:sldLayoutId id="2147486832" r:id="rId2"/>
    <p:sldLayoutId id="2147486833" r:id="rId3"/>
    <p:sldLayoutId id="2147486834" r:id="rId4"/>
    <p:sldLayoutId id="2147486835" r:id="rId5"/>
    <p:sldLayoutId id="2147486836" r:id="rId6"/>
    <p:sldLayoutId id="2147486837" r:id="rId7"/>
    <p:sldLayoutId id="2147486838" r:id="rId8"/>
    <p:sldLayoutId id="2147486839" r:id="rId9"/>
    <p:sldLayoutId id="2147486840" r:id="rId10"/>
    <p:sldLayoutId id="2147486841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1" y="3528088"/>
            <a:ext cx="171769" cy="35102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8435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1006"/>
            <a:ext cx="7267309" cy="8310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57" y="5961163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4017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1D225A9-8F30-46A3-9660-45B4E62F5D71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4017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1" y="3526590"/>
            <a:ext cx="171769" cy="3510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22" tIns="44211" rIns="85022" bIns="4421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4017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8438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8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8438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8439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3" y="1503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18439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3" y="1503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40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46" y="109503"/>
            <a:ext cx="1618291" cy="954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537093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43" r:id="rId1"/>
    <p:sldLayoutId id="2147486844" r:id="rId2"/>
    <p:sldLayoutId id="2147486845" r:id="rId3"/>
    <p:sldLayoutId id="2147486846" r:id="rId4"/>
    <p:sldLayoutId id="2147486847" r:id="rId5"/>
    <p:sldLayoutId id="2147486848" r:id="rId6"/>
    <p:sldLayoutId id="2147486849" r:id="rId7"/>
    <p:sldLayoutId id="2147486850" r:id="rId8"/>
    <p:sldLayoutId id="2147486851" r:id="rId9"/>
    <p:sldLayoutId id="2147486852" r:id="rId10"/>
    <p:sldLayoutId id="2147486853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922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844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76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68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2507" indent="-32250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0514" indent="-268506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8521" indent="-214505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0529" indent="-214505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2538" indent="-214505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570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7493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9414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1336" indent="-215961" algn="l" defTabSz="863844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922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844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766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687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610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531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3453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5375" algn="l" defTabSz="863844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30"/>
          <p:cNvSpPr>
            <a:spLocks noChangeArrowheads="1"/>
          </p:cNvSpPr>
          <p:nvPr userDrawn="1"/>
        </p:nvSpPr>
        <p:spPr bwMode="auto">
          <a:xfrm>
            <a:off x="5" y="3528744"/>
            <a:ext cx="171729" cy="351004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12418" y="110982"/>
            <a:ext cx="7267309" cy="830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88420" name="Text Box 4"/>
          <p:cNvSpPr txBox="1">
            <a:spLocks noChangeArrowheads="1"/>
          </p:cNvSpPr>
          <p:nvPr userDrawn="1"/>
        </p:nvSpPr>
        <p:spPr bwMode="auto">
          <a:xfrm>
            <a:off x="10297860" y="5961284"/>
            <a:ext cx="868156" cy="348300"/>
          </a:xfrm>
          <a:prstGeom prst="rect">
            <a:avLst/>
          </a:prstGeom>
          <a:noFill/>
          <a:ln w="44450" algn="ctr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r" defTabSz="863844" rtl="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5647A1D-7CAD-4C0D-BF60-D7508C1EC10C}" type="slidenum">
              <a:rPr kumimoji="0" lang="ru-RU" altLang="ru-RU" sz="1512" b="1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charset="0"/>
              </a:rPr>
              <a:pPr marL="0" marR="0" lvl="0" indent="0" algn="r" defTabSz="863844" rtl="0" eaLnBrk="0" fontAlgn="base" latinLnBrk="0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altLang="ru-RU" sz="1512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sp>
        <p:nvSpPr>
          <p:cNvPr id="1031" name="Rectangle 36"/>
          <p:cNvSpPr>
            <a:spLocks noChangeArrowheads="1"/>
          </p:cNvSpPr>
          <p:nvPr userDrawn="1"/>
        </p:nvSpPr>
        <p:spPr bwMode="auto">
          <a:xfrm>
            <a:off x="5" y="3527242"/>
            <a:ext cx="171729" cy="3510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CC"/>
                </a:solidFill>
              </a14:hiddenFill>
            </a:ext>
            <a:ext uri="{91240B29-F687-4F45-9708-019B960494DF}">
              <a14:hiddenLine xmlns:a14="http://schemas.microsoft.com/office/drawing/2010/main" w="38100" algn="ctr">
                <a:solidFill>
                  <a:schemeClr val="accent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85002" tIns="44201" rIns="85002" bIns="44201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86384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altLang="ru-RU" sz="1701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charset="0"/>
            </a:endParaRPr>
          </a:p>
        </p:txBody>
      </p:sp>
      <p:graphicFrame>
        <p:nvGraphicFramePr>
          <p:cNvPr id="1030" name="Object 39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2" name="think-cell Slide" r:id="rId16" imgW="360" imgH="360" progId="">
                  <p:embed/>
                </p:oleObj>
              </mc:Choice>
              <mc:Fallback>
                <p:oleObj name="think-cell Slide" r:id="rId16" imgW="360" imgH="360" progId="">
                  <p:embed/>
                  <p:pic>
                    <p:nvPicPr>
                      <p:cNvPr id="1030" name="Object 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ct 40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2005" y="1504"/>
          <a:ext cx="2000" cy="1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13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2" name="Object 4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5" y="1504"/>
                        <a:ext cx="2000" cy="150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32" name="Picture 11" descr="Layer 2"/>
          <p:cNvPicPr>
            <a:picLocks noChangeAspect="1" noChangeArrowheads="1"/>
          </p:cNvPicPr>
          <p:nvPr userDrawn="1"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2050" y="109478"/>
            <a:ext cx="1618291" cy="9538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912709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55" r:id="rId1"/>
    <p:sldLayoutId id="2147486856" r:id="rId2"/>
    <p:sldLayoutId id="2147486857" r:id="rId3"/>
    <p:sldLayoutId id="2147486858" r:id="rId4"/>
    <p:sldLayoutId id="2147486859" r:id="rId5"/>
    <p:sldLayoutId id="2147486860" r:id="rId6"/>
    <p:sldLayoutId id="2147486861" r:id="rId7"/>
    <p:sldLayoutId id="2147486862" r:id="rId8"/>
    <p:sldLayoutId id="2147486863" r:id="rId9"/>
    <p:sldLayoutId id="2147486864" r:id="rId10"/>
    <p:sldLayoutId id="2147486865" r:id="rId11"/>
  </p:sldLayoutIdLst>
  <p:txStyles>
    <p:titleStyle>
      <a:lvl1pPr algn="l" rtl="0" eaLnBrk="0" fontAlgn="base" hangingPunct="0">
        <a:spcBef>
          <a:spcPct val="0"/>
        </a:spcBef>
        <a:spcAft>
          <a:spcPct val="0"/>
        </a:spcAft>
        <a:defRPr sz="1890" b="1" kern="1200">
          <a:solidFill>
            <a:schemeClr val="bg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5pPr>
      <a:lvl6pPr marL="431836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6pPr>
      <a:lvl7pPr marL="86367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7pPr>
      <a:lvl8pPr marL="1295507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8pPr>
      <a:lvl9pPr marL="1727341" algn="l" rtl="0" fontAlgn="base">
        <a:spcBef>
          <a:spcPct val="0"/>
        </a:spcBef>
        <a:spcAft>
          <a:spcPct val="0"/>
        </a:spcAft>
        <a:defRPr sz="1890" b="1">
          <a:solidFill>
            <a:schemeClr val="bg2"/>
          </a:solidFill>
          <a:latin typeface="Proxima Nova Lt" pitchFamily="50" charset="0"/>
        </a:defRPr>
      </a:lvl9pPr>
    </p:titleStyle>
    <p:bodyStyle>
      <a:lvl1pPr marL="323876" indent="-323876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1pPr>
      <a:lvl2pPr marL="701732" indent="-26989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2pPr>
      <a:lvl3pPr marL="1079588" indent="-215917" algn="l" rtl="0" eaLnBrk="0" fontAlgn="base" hangingPunct="0">
        <a:spcBef>
          <a:spcPct val="20000"/>
        </a:spcBef>
        <a:spcAft>
          <a:spcPct val="0"/>
        </a:spcAft>
        <a:buChar char="•"/>
        <a:defRPr sz="1512" kern="1200">
          <a:solidFill>
            <a:schemeClr val="tx1"/>
          </a:solidFill>
          <a:latin typeface="+mn-lt"/>
          <a:ea typeface="+mn-ea"/>
          <a:cs typeface="+mn-cs"/>
        </a:defRPr>
      </a:lvl3pPr>
      <a:lvl4pPr marL="1511424" indent="-215917" algn="l" rtl="0" eaLnBrk="0" fontAlgn="base" hangingPunct="0">
        <a:spcBef>
          <a:spcPct val="20000"/>
        </a:spcBef>
        <a:spcAft>
          <a:spcPct val="0"/>
        </a:spcAft>
        <a:buChar char="–"/>
        <a:defRPr sz="1512" kern="1200">
          <a:solidFill>
            <a:schemeClr val="tx1"/>
          </a:solidFill>
          <a:latin typeface="+mn-lt"/>
          <a:ea typeface="+mn-ea"/>
          <a:cs typeface="+mn-cs"/>
        </a:defRPr>
      </a:lvl4pPr>
      <a:lvl5pPr marL="1943261" indent="-215917" algn="l" rtl="0" eaLnBrk="0" fontAlgn="base" hangingPunct="0">
        <a:spcBef>
          <a:spcPct val="20000"/>
        </a:spcBef>
        <a:spcAft>
          <a:spcPct val="0"/>
        </a:spcAft>
        <a:buChar char="»"/>
        <a:defRPr sz="1512" kern="1200">
          <a:solidFill>
            <a:schemeClr val="tx1"/>
          </a:solidFill>
          <a:latin typeface="+mn-lt"/>
          <a:ea typeface="+mn-ea"/>
          <a:cs typeface="+mn-cs"/>
        </a:defRPr>
      </a:lvl5pPr>
      <a:lvl6pPr marL="2375095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806931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238766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670602" indent="-215917" algn="l" defTabSz="863671" rtl="0" eaLnBrk="1" latinLnBrk="0" hangingPunct="1">
        <a:lnSpc>
          <a:spcPct val="90000"/>
        </a:lnSpc>
        <a:spcBef>
          <a:spcPts val="472"/>
        </a:spcBef>
        <a:buFont typeface="Arial" panose="020B0604020202020204" pitchFamily="34" charset="0"/>
        <a:buChar char="•"/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1836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367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5507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7341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5917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1012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2848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4684" algn="l" defTabSz="863671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46"/>
          <p:cNvSpPr>
            <a:spLocks noGrp="1" noChangeArrowheads="1"/>
          </p:cNvSpPr>
          <p:nvPr>
            <p:ph type="title"/>
          </p:nvPr>
        </p:nvSpPr>
        <p:spPr bwMode="auto">
          <a:xfrm>
            <a:off x="2132400" y="144004"/>
            <a:ext cx="6079095" cy="10215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2051" name="Rectangle 48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2026" y="1288541"/>
            <a:ext cx="11250026" cy="4945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153652" name="Rectangle 52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0" y="6267175"/>
            <a:ext cx="10297855" cy="23850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1323">
                <a:solidFill>
                  <a:srgbClr val="5B0917"/>
                </a:solidFill>
              </a:defRPr>
            </a:lvl1pPr>
          </a:lstStyle>
          <a:p>
            <a:pPr eaLnBrk="1" hangingPunct="1">
              <a:defRPr/>
            </a:pPr>
            <a:r>
              <a:rPr lang="ru-RU" altLang="ru-RU" b="0" dirty="0">
                <a:latin typeface="Arial" charset="0"/>
                <a:cs typeface="Arial" charset="0"/>
              </a:rPr>
              <a:t>Наименование слайда</a:t>
            </a:r>
          </a:p>
        </p:txBody>
      </p:sp>
      <p:sp>
        <p:nvSpPr>
          <p:cNvPr id="153655" name="Rectangle 5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10387872" y="6234168"/>
            <a:ext cx="966173" cy="246007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lnSpc>
                <a:spcPct val="100000"/>
              </a:lnSpc>
              <a:spcBef>
                <a:spcPct val="0"/>
              </a:spcBef>
              <a:defRPr sz="945" b="1">
                <a:solidFill>
                  <a:srgbClr val="D20000"/>
                </a:solidFill>
              </a:defRPr>
            </a:lvl1pPr>
          </a:lstStyle>
          <a:p>
            <a:pPr>
              <a:defRPr/>
            </a:pPr>
            <a:fld id="{4B055D6D-AF42-45FE-8392-2D1D9DED2C91}" type="slidenum">
              <a:rPr lang="ru-RU" altLang="ru-RU">
                <a:latin typeface="Arial" charset="0"/>
                <a:cs typeface="Arial" charset="0"/>
              </a:rPr>
              <a:pPr>
                <a:defRPr/>
              </a:pPr>
              <a:t>‹#›</a:t>
            </a:fld>
            <a:endParaRPr lang="ru-RU" altLang="ru-RU" dirty="0">
              <a:latin typeface="Arial" charset="0"/>
              <a:cs typeface="Arial" charset="0"/>
            </a:endParaRPr>
          </a:p>
        </p:txBody>
      </p:sp>
      <p:pic>
        <p:nvPicPr>
          <p:cNvPr id="2054" name="Picture 16" descr="Layer 2"/>
          <p:cNvPicPr>
            <a:picLocks noChangeAspect="1" noChangeArrowheads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033" y="136504"/>
            <a:ext cx="1952352" cy="1152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24227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6867" r:id="rId1"/>
    <p:sldLayoutId id="2147486868" r:id="rId2"/>
    <p:sldLayoutId id="2147486869" r:id="rId3"/>
    <p:sldLayoutId id="2147486870" r:id="rId4"/>
    <p:sldLayoutId id="2147486871" r:id="rId5"/>
    <p:sldLayoutId id="2147486872" r:id="rId6"/>
    <p:sldLayoutId id="2147486873" r:id="rId7"/>
    <p:sldLayoutId id="2147486874" r:id="rId8"/>
    <p:sldLayoutId id="2147486875" r:id="rId9"/>
    <p:sldLayoutId id="2147486876" r:id="rId10"/>
    <p:sldLayoutId id="2147486877" r:id="rId11"/>
    <p:sldLayoutId id="2147486878" r:id="rId12"/>
    <p:sldLayoutId id="2147486879" r:id="rId13"/>
    <p:sldLayoutId id="2147486880" r:id="rId14"/>
  </p:sldLayoutIdLst>
  <p:hf hdr="0" ftr="0" dt="0"/>
  <p:txStyles>
    <p:titleStyle>
      <a:lvl1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2pPr>
      <a:lvl3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3pPr>
      <a:lvl4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4pPr>
      <a:lvl5pPr algn="l" rtl="0" eaLnBrk="0" fontAlgn="base" hangingPunct="0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D20000"/>
          </a:solidFill>
          <a:latin typeface="Arial" charset="0"/>
        </a:defRPr>
      </a:lvl5pPr>
      <a:lvl6pPr marL="432008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6pPr>
      <a:lvl7pPr marL="864017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7pPr>
      <a:lvl8pPr marL="1296025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8pPr>
      <a:lvl9pPr marL="1728033" algn="l" rtl="0" fontAlgn="base">
        <a:lnSpc>
          <a:spcPct val="80000"/>
        </a:lnSpc>
        <a:spcBef>
          <a:spcPct val="0"/>
        </a:spcBef>
        <a:spcAft>
          <a:spcPct val="0"/>
        </a:spcAft>
        <a:defRPr sz="1890" b="1">
          <a:solidFill>
            <a:srgbClr val="E2271E"/>
          </a:solidFill>
          <a:latin typeface="Arial" charset="0"/>
        </a:defRPr>
      </a:lvl9pPr>
    </p:titleStyle>
    <p:bodyStyle>
      <a:lvl1pPr marL="324006" indent="-324006" algn="l" rtl="0" eaLnBrk="0" fontAlgn="base" hangingPunct="0">
        <a:spcBef>
          <a:spcPct val="20000"/>
        </a:spcBef>
        <a:spcAft>
          <a:spcPct val="50000"/>
        </a:spcAft>
        <a:buClr>
          <a:srgbClr val="CC0000"/>
        </a:buClr>
        <a:buSzPct val="60000"/>
        <a:buFont typeface="Wingdings" pitchFamily="2" charset="2"/>
        <a:buChar char="n"/>
        <a:defRPr sz="2079">
          <a:solidFill>
            <a:srgbClr val="5B0917"/>
          </a:solidFill>
          <a:latin typeface="+mn-lt"/>
          <a:ea typeface="+mn-ea"/>
          <a:cs typeface="+mn-cs"/>
        </a:defRPr>
      </a:lvl1pPr>
      <a:lvl2pPr marL="702013" indent="-270005" algn="l" rtl="0" eaLnBrk="0" fontAlgn="base" hangingPunct="0">
        <a:spcBef>
          <a:spcPct val="20000"/>
        </a:spcBef>
        <a:spcAft>
          <a:spcPct val="30000"/>
        </a:spcAft>
        <a:buClr>
          <a:srgbClr val="CC0000"/>
        </a:buClr>
        <a:buFont typeface="Wingdings" pitchFamily="2" charset="2"/>
        <a:buChar char="§"/>
        <a:defRPr sz="1890">
          <a:solidFill>
            <a:srgbClr val="5B0917"/>
          </a:solidFill>
          <a:latin typeface="+mn-lt"/>
        </a:defRPr>
      </a:lvl2pPr>
      <a:lvl3pPr marL="1080021" indent="-216004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SzPct val="80000"/>
        <a:buFont typeface="Wingdings" pitchFamily="2" charset="2"/>
        <a:buChar char="§"/>
        <a:defRPr>
          <a:solidFill>
            <a:srgbClr val="5B0917"/>
          </a:solidFill>
          <a:latin typeface="+mn-lt"/>
        </a:defRPr>
      </a:lvl3pPr>
      <a:lvl4pPr marL="1512029" indent="-216004" algn="l" rtl="0" eaLnBrk="0" fontAlgn="base" hangingPunct="0">
        <a:spcBef>
          <a:spcPct val="20000"/>
        </a:spcBef>
        <a:spcAft>
          <a:spcPct val="20000"/>
        </a:spcAft>
        <a:buClr>
          <a:srgbClr val="CC0000"/>
        </a:buClr>
        <a:buFont typeface="Times New Roman" pitchFamily="18" charset="0"/>
        <a:buChar char="▪"/>
        <a:defRPr sz="1512">
          <a:solidFill>
            <a:srgbClr val="5B0917"/>
          </a:solidFill>
          <a:latin typeface="+mn-lt"/>
        </a:defRPr>
      </a:lvl4pPr>
      <a:lvl5pPr marL="1944037" indent="-216004" algn="l" rtl="0" eaLnBrk="0" fontAlgn="base" hangingPunct="0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5pPr>
      <a:lvl6pPr marL="2376046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6pPr>
      <a:lvl7pPr marL="2808054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7pPr>
      <a:lvl8pPr marL="3240062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8pPr>
      <a:lvl9pPr marL="3672070" indent="-216004" algn="l" rtl="0" fontAlgn="base">
        <a:spcBef>
          <a:spcPct val="20000"/>
        </a:spcBef>
        <a:spcAft>
          <a:spcPct val="0"/>
        </a:spcAft>
        <a:buClr>
          <a:srgbClr val="CC0000"/>
        </a:buClr>
        <a:buFont typeface="Arial" charset="0"/>
        <a:buChar char="∙"/>
        <a:defRPr sz="1323">
          <a:solidFill>
            <a:srgbClr val="5B0917"/>
          </a:solidFill>
          <a:latin typeface="+mn-lt"/>
        </a:defRPr>
      </a:lvl9pPr>
    </p:bodyStyle>
    <p:otherStyle>
      <a:defPPr>
        <a:defRPr lang="ru-RU"/>
      </a:defPPr>
      <a:lvl1pPr marL="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1pPr>
      <a:lvl2pPr marL="43200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2pPr>
      <a:lvl3pPr marL="864017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3pPr>
      <a:lvl4pPr marL="1296025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4pPr>
      <a:lvl5pPr marL="1728033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5pPr>
      <a:lvl6pPr marL="2160041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6pPr>
      <a:lvl7pPr marL="2592050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7pPr>
      <a:lvl8pPr marL="3024058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8pPr>
      <a:lvl9pPr marL="3456066" algn="l" defTabSz="864017" rtl="0" eaLnBrk="1" latinLnBrk="0" hangingPunct="1">
        <a:defRPr sz="17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v8.1c.ru/cpm/poleznye-materialy/video/" TargetMode="External"/><Relationship Id="rId3" Type="http://schemas.openxmlformats.org/officeDocument/2006/relationships/hyperlink" Target="https://v8.1c.ru/cpm-erp/" TargetMode="External"/><Relationship Id="rId7" Type="http://schemas.openxmlformats.org/officeDocument/2006/relationships/hyperlink" Target="https://v8.1c.ru/cpm/poleznye-materialy/presentations/" TargetMode="External"/><Relationship Id="rId12" Type="http://schemas.openxmlformats.org/officeDocument/2006/relationships/image" Target="../media/image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6" Type="http://schemas.openxmlformats.org/officeDocument/2006/relationships/hyperlink" Target="https://v8.1c.ru/cpm/" TargetMode="External"/><Relationship Id="rId11" Type="http://schemas.openxmlformats.org/officeDocument/2006/relationships/hyperlink" Target="https://www.youtube.com/channel/UCcqLClFBq1HOSUDEDBLygFg" TargetMode="External"/><Relationship Id="rId5" Type="http://schemas.openxmlformats.org/officeDocument/2006/relationships/hyperlink" Target="https://v8.1c.ru/cpm-erp/poleznye-materialy/video/" TargetMode="External"/><Relationship Id="rId10" Type="http://schemas.openxmlformats.org/officeDocument/2006/relationships/hyperlink" Target="https://v8.1c.ru/cpm/assets/" TargetMode="External"/><Relationship Id="rId4" Type="http://schemas.openxmlformats.org/officeDocument/2006/relationships/hyperlink" Target="https://v8.1c.ru/cpm-erp/poleznye-materialy/presentations/" TargetMode="External"/><Relationship Id="rId9" Type="http://schemas.openxmlformats.org/officeDocument/2006/relationships/hyperlink" Target="https://v8.1c.ru/cpm/istorii-uspekha/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11" Type="http://schemas.openxmlformats.org/officeDocument/2006/relationships/image" Target="../media/image8.png"/><Relationship Id="rId5" Type="http://schemas.openxmlformats.org/officeDocument/2006/relationships/diagramQuickStyle" Target="../diagrams/quickStyle1.xml"/><Relationship Id="rId10" Type="http://schemas.openxmlformats.org/officeDocument/2006/relationships/image" Target="../media/image7.png"/><Relationship Id="rId4" Type="http://schemas.openxmlformats.org/officeDocument/2006/relationships/diagramLayout" Target="../diagrams/layout1.xml"/><Relationship Id="rId9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13" Type="http://schemas.openxmlformats.org/officeDocument/2006/relationships/image" Target="../media/image21.png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openxmlformats.org/officeDocument/2006/relationships/image" Target="../media/image2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Relationship Id="rId6" Type="http://schemas.openxmlformats.org/officeDocument/2006/relationships/diagramColors" Target="../diagrams/colors3.xml"/><Relationship Id="rId11" Type="http://schemas.openxmlformats.org/officeDocument/2006/relationships/image" Target="../media/image20.png"/><Relationship Id="rId5" Type="http://schemas.openxmlformats.org/officeDocument/2006/relationships/diagramQuickStyle" Target="../diagrams/quickStyle3.xml"/><Relationship Id="rId10" Type="http://schemas.openxmlformats.org/officeDocument/2006/relationships/image" Target="../media/image23.png"/><Relationship Id="rId4" Type="http://schemas.openxmlformats.org/officeDocument/2006/relationships/diagramLayout" Target="../diagrams/layout3.xml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4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Учёт и отчётность КИК и международных групп компаний.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1С:</a:t>
            </a:r>
            <a:r>
              <a:rPr lang="en-US" dirty="0"/>
              <a:t>ERP.</a:t>
            </a:r>
            <a:r>
              <a:rPr lang="ru-RU" dirty="0"/>
              <a:t>Управление холдингом</a:t>
            </a:r>
            <a:endParaRPr lang="en-US" dirty="0"/>
          </a:p>
          <a:p>
            <a:r>
              <a:rPr lang="ru-RU" dirty="0"/>
              <a:t>1С:Управление холдингом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95138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40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Оценка рисков международной группы компаний по методике BEPS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1С:</a:t>
            </a:r>
            <a:r>
              <a:rPr lang="en-US" dirty="0"/>
              <a:t>ERP.</a:t>
            </a:r>
            <a:r>
              <a:rPr lang="ru-RU" dirty="0"/>
              <a:t>Управление холдингом</a:t>
            </a:r>
            <a:endParaRPr lang="en-US" dirty="0"/>
          </a:p>
          <a:p>
            <a:r>
              <a:rPr lang="ru-RU" dirty="0"/>
              <a:t>1С:Управление холдингом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9919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>
            <a:extLst>
              <a:ext uri="{FF2B5EF4-FFF2-40B4-BE49-F238E27FC236}">
                <a16:creationId xmlns:a16="http://schemas.microsoft.com/office/drawing/2014/main" id="{ECCBC75B-19ED-445F-BDC5-F37614336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7350" y="-273"/>
            <a:ext cx="7343775" cy="8773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b="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b="0" dirty="0" err="1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Страновой</a:t>
            </a:r>
            <a:r>
              <a:rPr lang="ru-RU" sz="1889" b="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 отчет и уведомление об участии в МГК</a:t>
            </a:r>
          </a:p>
          <a:p>
            <a:pPr algn="ctr">
              <a:lnSpc>
                <a:spcPct val="90000"/>
              </a:lnSpc>
              <a:defRPr/>
            </a:pPr>
            <a:endParaRPr lang="ru-RU" sz="1889" b="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1228828" y="2178101"/>
            <a:ext cx="2255515" cy="1010841"/>
          </a:xfrm>
          <a:prstGeom prst="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  <a:latin typeface="Arial" panose="020B0604020202020204" pitchFamily="34" charset="0"/>
              </a:rPr>
              <a:t>Операции «Поступление инвестиций» и «Выбытие инвестиций»</a:t>
            </a: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8121531" y="2178101"/>
            <a:ext cx="1930351" cy="1010841"/>
          </a:xfrm>
          <a:prstGeom prst="rect">
            <a:avLst/>
          </a:prstGeom>
          <a:solidFill>
            <a:srgbClr val="FC6E51"/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  <a:latin typeface="Arial" panose="020B0604020202020204" pitchFamily="34" charset="0"/>
              </a:rPr>
              <a:t>Уведомление об участии в МГК</a:t>
            </a: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4104853" y="2180831"/>
            <a:ext cx="2255515" cy="1008112"/>
          </a:xfrm>
          <a:prstGeom prst="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  <a:latin typeface="Arial" panose="020B0604020202020204" pitchFamily="34" charset="0"/>
              </a:rPr>
              <a:t>Подготовка межстрановой отчетности</a:t>
            </a:r>
          </a:p>
        </p:txBody>
      </p:sp>
      <p:sp>
        <p:nvSpPr>
          <p:cNvPr id="8" name="Прямоугольник 7"/>
          <p:cNvSpPr/>
          <p:nvPr/>
        </p:nvSpPr>
        <p:spPr bwMode="auto">
          <a:xfrm>
            <a:off x="4104853" y="5040287"/>
            <a:ext cx="2255515" cy="993949"/>
          </a:xfrm>
          <a:prstGeom prst="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  <a:latin typeface="Arial" panose="020B0604020202020204" pitchFamily="34" charset="0"/>
              </a:rPr>
              <a:t>Данные для расчета показателей BEPS</a:t>
            </a:r>
          </a:p>
        </p:txBody>
      </p:sp>
      <p:sp>
        <p:nvSpPr>
          <p:cNvPr id="9" name="Прямоугольник 8"/>
          <p:cNvSpPr/>
          <p:nvPr/>
        </p:nvSpPr>
        <p:spPr bwMode="auto">
          <a:xfrm>
            <a:off x="1256857" y="3689693"/>
            <a:ext cx="2255515" cy="993949"/>
          </a:xfrm>
          <a:prstGeom prst="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  <a:latin typeface="Arial" panose="020B0604020202020204" pitchFamily="34" charset="0"/>
              </a:rPr>
              <a:t>Моделирование движений инвестиций</a:t>
            </a:r>
          </a:p>
        </p:txBody>
      </p:sp>
      <p:sp>
        <p:nvSpPr>
          <p:cNvPr id="10" name="Прямоугольник 9"/>
          <p:cNvSpPr/>
          <p:nvPr/>
        </p:nvSpPr>
        <p:spPr bwMode="auto">
          <a:xfrm>
            <a:off x="8121531" y="3379306"/>
            <a:ext cx="1944216" cy="807362"/>
          </a:xfrm>
          <a:prstGeom prst="rect">
            <a:avLst/>
          </a:prstGeom>
          <a:solidFill>
            <a:srgbClr val="FC6E51"/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dirty="0" err="1">
                <a:solidFill>
                  <a:schemeClr val="bg1"/>
                </a:solidFill>
              </a:rPr>
              <a:t>Страновой</a:t>
            </a:r>
            <a:r>
              <a:rPr lang="ru-RU" sz="1400" dirty="0">
                <a:solidFill>
                  <a:schemeClr val="bg1"/>
                </a:solidFill>
              </a:rPr>
              <a:t> отчет</a:t>
            </a:r>
          </a:p>
        </p:txBody>
      </p:sp>
      <p:sp>
        <p:nvSpPr>
          <p:cNvPr id="11" name="Прямоугольник 10"/>
          <p:cNvSpPr/>
          <p:nvPr/>
        </p:nvSpPr>
        <p:spPr bwMode="auto">
          <a:xfrm>
            <a:off x="8114598" y="4570699"/>
            <a:ext cx="1944216" cy="966562"/>
          </a:xfrm>
          <a:prstGeom prst="rect">
            <a:avLst/>
          </a:prstGeom>
          <a:solidFill>
            <a:srgbClr val="FC6E51"/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Показатели </a:t>
            </a:r>
            <a:r>
              <a:rPr lang="en-US" sz="1400" dirty="0">
                <a:solidFill>
                  <a:schemeClr val="bg1"/>
                </a:solidFill>
              </a:rPr>
              <a:t>BEPS</a:t>
            </a:r>
            <a:endParaRPr lang="ru-RU" sz="1400" dirty="0">
              <a:solidFill>
                <a:schemeClr val="bg1"/>
              </a:solidFill>
            </a:endParaRPr>
          </a:p>
        </p:txBody>
      </p:sp>
      <p:cxnSp>
        <p:nvCxnSpPr>
          <p:cNvPr id="12" name="Соединительная линия уступом 11"/>
          <p:cNvCxnSpPr>
            <a:stCxn id="4" idx="3"/>
            <a:endCxn id="7" idx="1"/>
          </p:cNvCxnSpPr>
          <p:nvPr/>
        </p:nvCxnSpPr>
        <p:spPr bwMode="auto">
          <a:xfrm>
            <a:off x="3484343" y="2683522"/>
            <a:ext cx="620510" cy="1365"/>
          </a:xfrm>
          <a:prstGeom prst="bentConnector3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4" name="Прямая со стрелкой 13"/>
          <p:cNvCxnSpPr>
            <a:stCxn id="7" idx="3"/>
            <a:endCxn id="5" idx="1"/>
          </p:cNvCxnSpPr>
          <p:nvPr/>
        </p:nvCxnSpPr>
        <p:spPr bwMode="auto">
          <a:xfrm flipV="1">
            <a:off x="6360368" y="2683522"/>
            <a:ext cx="1761163" cy="1365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7" name="Прямая со стрелкой 16"/>
          <p:cNvCxnSpPr>
            <a:stCxn id="8" idx="0"/>
            <a:endCxn id="7" idx="2"/>
          </p:cNvCxnSpPr>
          <p:nvPr/>
        </p:nvCxnSpPr>
        <p:spPr bwMode="auto">
          <a:xfrm flipV="1">
            <a:off x="5232611" y="3188943"/>
            <a:ext cx="0" cy="1851344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8" name="Соединительная линия уступом 17"/>
          <p:cNvCxnSpPr>
            <a:stCxn id="9" idx="3"/>
            <a:endCxn id="7" idx="2"/>
          </p:cNvCxnSpPr>
          <p:nvPr/>
        </p:nvCxnSpPr>
        <p:spPr bwMode="auto">
          <a:xfrm flipV="1">
            <a:off x="3512372" y="3188943"/>
            <a:ext cx="1720239" cy="997725"/>
          </a:xfrm>
          <a:prstGeom prst="bentConnector2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9" name="Соединительная линия уступом 28"/>
          <p:cNvCxnSpPr>
            <a:stCxn id="7" idx="3"/>
            <a:endCxn id="10" idx="1"/>
          </p:cNvCxnSpPr>
          <p:nvPr/>
        </p:nvCxnSpPr>
        <p:spPr bwMode="auto">
          <a:xfrm>
            <a:off x="6360368" y="2684887"/>
            <a:ext cx="1761163" cy="1098100"/>
          </a:xfrm>
          <a:prstGeom prst="bentConnector3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2" name="Соединительная линия уступом 31"/>
          <p:cNvCxnSpPr>
            <a:stCxn id="8" idx="3"/>
            <a:endCxn id="11" idx="1"/>
          </p:cNvCxnSpPr>
          <p:nvPr/>
        </p:nvCxnSpPr>
        <p:spPr bwMode="auto">
          <a:xfrm flipV="1">
            <a:off x="6360368" y="5053980"/>
            <a:ext cx="1754230" cy="483282"/>
          </a:xfrm>
          <a:prstGeom prst="bentConnector3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9158184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>
            <a:extLst>
              <a:ext uri="{FF2B5EF4-FFF2-40B4-BE49-F238E27FC236}">
                <a16:creationId xmlns:a16="http://schemas.microsoft.com/office/drawing/2014/main" id="{ECCBC75B-19ED-445F-BDC5-F37614336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7350" y="-273"/>
            <a:ext cx="7343775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b="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b="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Оценка налоговых рисков при помощи индикаторов BEPS</a:t>
            </a: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437" y="1340768"/>
            <a:ext cx="8656176" cy="5044171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1" name="Прямоугольник с двумя вырезанными противолежащими углами 23"/>
          <p:cNvSpPr/>
          <p:nvPr/>
        </p:nvSpPr>
        <p:spPr bwMode="auto">
          <a:xfrm>
            <a:off x="9145413" y="1923488"/>
            <a:ext cx="2255021" cy="1152128"/>
          </a:xfrm>
          <a:prstGeom prst="snip2Diag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200" b="0" dirty="0">
                <a:solidFill>
                  <a:srgbClr val="BA3A3B"/>
                </a:solidFill>
              </a:rPr>
              <a:t>Выявлены юрисдикции со значительной прибылью, но незначительной бизнес-активностью (объем активов, выручка)</a:t>
            </a:r>
          </a:p>
        </p:txBody>
      </p:sp>
      <p:sp>
        <p:nvSpPr>
          <p:cNvPr id="12" name="Прямоугольник с двумя вырезанными противолежащими углами 24"/>
          <p:cNvSpPr/>
          <p:nvPr/>
        </p:nvSpPr>
        <p:spPr bwMode="auto">
          <a:xfrm>
            <a:off x="9145413" y="3405971"/>
            <a:ext cx="2248481" cy="1181813"/>
          </a:xfrm>
          <a:prstGeom prst="snip2DiagRect">
            <a:avLst/>
          </a:prstGeom>
          <a:solidFill>
            <a:srgbClr val="FC6E51"/>
          </a:solidFill>
          <a:ln w="444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>
              <a:buClr>
                <a:srgbClr val="C00000"/>
              </a:buClr>
            </a:pPr>
            <a:r>
              <a:rPr lang="ru-RU" sz="1100" b="1" dirty="0">
                <a:solidFill>
                  <a:schemeClr val="bg1"/>
                </a:solidFill>
              </a:rPr>
              <a:t>Риск: </a:t>
            </a:r>
            <a:r>
              <a:rPr lang="ru-RU" sz="1100" dirty="0">
                <a:solidFill>
                  <a:schemeClr val="bg1"/>
                </a:solidFill>
              </a:rPr>
              <a:t>Прибыль могла быть смещена от юрисдикции, где происходит основная хозяйственная деятельность</a:t>
            </a:r>
          </a:p>
        </p:txBody>
      </p:sp>
      <p:sp>
        <p:nvSpPr>
          <p:cNvPr id="13" name="Прямоугольник с двумя вырезанными противолежащими углами 25"/>
          <p:cNvSpPr/>
          <p:nvPr/>
        </p:nvSpPr>
        <p:spPr bwMode="auto">
          <a:xfrm>
            <a:off x="9145413" y="4875815"/>
            <a:ext cx="2255021" cy="1460616"/>
          </a:xfrm>
          <a:prstGeom prst="snip2Diag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200" b="0" dirty="0">
                <a:solidFill>
                  <a:srgbClr val="BA3A3B"/>
                </a:solidFill>
              </a:rPr>
              <a:t>Другие возможные причины: значительный износ материальных активов или не отраженные в отчетности нематериальные активы</a:t>
            </a:r>
          </a:p>
        </p:txBody>
      </p:sp>
      <p:cxnSp>
        <p:nvCxnSpPr>
          <p:cNvPr id="14" name="Соединительная линия уступом 27"/>
          <p:cNvCxnSpPr>
            <a:stCxn id="11" idx="1"/>
            <a:endCxn id="12" idx="3"/>
          </p:cNvCxnSpPr>
          <p:nvPr/>
        </p:nvCxnSpPr>
        <p:spPr bwMode="auto">
          <a:xfrm flipH="1">
            <a:off x="10269654" y="3075616"/>
            <a:ext cx="3270" cy="330355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5" name="Соединительная линия уступом 28"/>
          <p:cNvCxnSpPr>
            <a:stCxn id="12" idx="1"/>
            <a:endCxn id="13" idx="3"/>
          </p:cNvCxnSpPr>
          <p:nvPr/>
        </p:nvCxnSpPr>
        <p:spPr bwMode="auto">
          <a:xfrm>
            <a:off x="10269654" y="4587784"/>
            <a:ext cx="3270" cy="288031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6" name="Прямоугольник 1"/>
          <p:cNvSpPr>
            <a:spLocks noChangeArrowheads="1"/>
          </p:cNvSpPr>
          <p:nvPr/>
        </p:nvSpPr>
        <p:spPr bwMode="auto">
          <a:xfrm>
            <a:off x="5292082" y="882972"/>
            <a:ext cx="3688641" cy="1008097"/>
          </a:xfrm>
          <a:prstGeom prst="rect">
            <a:avLst/>
          </a:prstGeom>
          <a:solidFill>
            <a:schemeClr val="tx1">
              <a:lumMod val="10000"/>
              <a:lumOff val="9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 lIns="83945" tIns="41974" rIns="83945" bIns="41974">
            <a:spAutoFit/>
          </a:bodyPr>
          <a:lstStyle/>
          <a:p>
            <a:pPr algn="ctr" defTabSz="912813"/>
            <a:r>
              <a:rPr lang="ru-RU" altLang="ru-RU" sz="1500" dirty="0">
                <a:solidFill>
                  <a:schemeClr val="bg2"/>
                </a:solidFill>
                <a:latin typeface="+mn-lt"/>
              </a:rPr>
              <a:t>Налоговые риски МГК в 1С:Управление холдингом можно оценивать по совокупности индикаторов </a:t>
            </a:r>
            <a:r>
              <a:rPr lang="en-US" altLang="ru-RU" sz="1500" dirty="0">
                <a:solidFill>
                  <a:schemeClr val="bg2"/>
                </a:solidFill>
                <a:latin typeface="+mn-lt"/>
              </a:rPr>
              <a:t>BEPS</a:t>
            </a:r>
            <a:endParaRPr lang="ru-RU" altLang="ru-RU" sz="1500" b="1" dirty="0">
              <a:solidFill>
                <a:schemeClr val="bg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258779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>
            <a:extLst>
              <a:ext uri="{FF2B5EF4-FFF2-40B4-BE49-F238E27FC236}">
                <a16:creationId xmlns:a16="http://schemas.microsoft.com/office/drawing/2014/main" id="{ECCBC75B-19ED-445F-BDC5-F376143368F5}"/>
              </a:ext>
            </a:extLst>
          </p:cNvPr>
          <p:cNvSpPr>
            <a:spLocks noChangeArrowheads="1"/>
          </p:cNvSpPr>
          <p:nvPr/>
        </p:nvSpPr>
        <p:spPr bwMode="auto">
          <a:xfrm>
            <a:off x="1657350" y="-273"/>
            <a:ext cx="7343775" cy="6156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lnSpc>
                <a:spcPct val="90000"/>
              </a:lnSpc>
              <a:defRPr/>
            </a:pPr>
            <a:endParaRPr lang="en-US" sz="1889" b="0" dirty="0">
              <a:solidFill>
                <a:schemeClr val="bg2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ctr">
              <a:lnSpc>
                <a:spcPct val="90000"/>
              </a:lnSpc>
              <a:defRPr/>
            </a:pPr>
            <a:r>
              <a:rPr lang="ru-RU" sz="1889" b="0" dirty="0">
                <a:solidFill>
                  <a:schemeClr val="bg2">
                    <a:lumMod val="50000"/>
                  </a:schemeClr>
                </a:solidFill>
                <a:cs typeface="Arial" panose="020B0604020202020204" pitchFamily="34" charset="0"/>
              </a:rPr>
              <a:t>Эффективность налоговой функции</a:t>
            </a: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5292985" y="1007850"/>
            <a:ext cx="2952328" cy="216025"/>
          </a:xfrm>
          <a:prstGeom prst="rect">
            <a:avLst/>
          </a:prstGeom>
          <a:solidFill>
            <a:schemeClr val="bg1"/>
          </a:solidFill>
          <a:ln>
            <a:noFill/>
            <a:headEnd type="none" w="med" len="med"/>
            <a:tailEnd type="none" w="med" len="med"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1" hangingPunct="1"/>
            <a:endParaRPr lang="ru-RU" sz="1400" dirty="0">
              <a:solidFill>
                <a:srgbClr val="5F0000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 bwMode="auto">
          <a:xfrm>
            <a:off x="1029814" y="5125827"/>
            <a:ext cx="2319441" cy="1224136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ru-RU" sz="1300" dirty="0">
                <a:solidFill>
                  <a:schemeClr val="bg2">
                    <a:lumMod val="75000"/>
                  </a:schemeClr>
                </a:solidFill>
              </a:rPr>
              <a:t>Анализ и контроль частоты подачи уточненных деклараций в разрезе видов налогов</a:t>
            </a:r>
            <a:endParaRPr lang="ru-RU" sz="13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3600797" y="5112295"/>
            <a:ext cx="2664296" cy="1224136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ru-RU" sz="1300" dirty="0">
                <a:solidFill>
                  <a:schemeClr val="bg2">
                    <a:lumMod val="75000"/>
                  </a:schemeClr>
                </a:solidFill>
              </a:rPr>
              <a:t>Сравнение плановых и фактических данных по налоговым платежам, анализ величины просроченных платежей</a:t>
            </a:r>
            <a:endParaRPr lang="ru-RU" sz="1300" b="1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6516635" y="5112295"/>
            <a:ext cx="2556791" cy="1224136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eaLnBrk="1" hangingPunct="1">
              <a:lnSpc>
                <a:spcPct val="90000"/>
              </a:lnSpc>
              <a:spcBef>
                <a:spcPct val="50000"/>
              </a:spcBef>
            </a:pPr>
            <a:r>
              <a:rPr lang="ru-RU" sz="1300" dirty="0">
                <a:solidFill>
                  <a:schemeClr val="bg2">
                    <a:lumMod val="75000"/>
                  </a:schemeClr>
                </a:solidFill>
              </a:rPr>
              <a:t>Анализ структуры и динамики налоговой базы</a:t>
            </a:r>
            <a:endParaRPr lang="ru-RU" sz="1300" b="1" dirty="0">
              <a:solidFill>
                <a:schemeClr val="bg2">
                  <a:lumMod val="75000"/>
                </a:schemeClr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8509" y="1126959"/>
            <a:ext cx="8095138" cy="3898016"/>
          </a:xfrm>
          <a:prstGeom prst="rect">
            <a:avLst/>
          </a:prstGeom>
          <a:noFill/>
          <a:ln w="6350">
            <a:solidFill>
              <a:srgbClr val="3E5057"/>
            </a:solidFill>
            <a:miter lim="800000"/>
            <a:headEnd/>
            <a:tailEnd/>
          </a:ln>
          <a:effectLst>
            <a:outerShdw blurRad="254000" dist="50800" dir="5400000" algn="ctr" rotWithShape="0">
              <a:srgbClr val="000000">
                <a:alpha val="43137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741" y="3528119"/>
            <a:ext cx="1781696" cy="216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6741" y="2015951"/>
            <a:ext cx="1781696" cy="216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3597" y="3096080"/>
            <a:ext cx="1781696" cy="2880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Picture 6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316" y="4176201"/>
            <a:ext cx="527491" cy="241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Прямоугольник 12"/>
          <p:cNvSpPr/>
          <p:nvPr/>
        </p:nvSpPr>
        <p:spPr bwMode="auto">
          <a:xfrm>
            <a:off x="5833060" y="4464232"/>
            <a:ext cx="407143" cy="72008"/>
          </a:xfrm>
          <a:prstGeom prst="rect">
            <a:avLst/>
          </a:prstGeom>
          <a:solidFill>
            <a:schemeClr val="bg1"/>
          </a:solidFill>
          <a:ln w="444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Bef>
                <a:spcPct val="50000"/>
              </a:spcBef>
            </a:pPr>
            <a:endParaRPr lang="ru-RU" sz="2000" dirty="0">
              <a:solidFill>
                <a:srgbClr val="5F0000"/>
              </a:solidFill>
              <a:latin typeface="Arial" charset="0"/>
              <a:cs typeface="Arial" charset="0"/>
            </a:endParaRPr>
          </a:p>
        </p:txBody>
      </p:sp>
      <p:pic>
        <p:nvPicPr>
          <p:cNvPr id="14" name="Picture 4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0618" y="4436188"/>
            <a:ext cx="288031" cy="100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106221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4"/>
          <p:cNvSpPr>
            <a:spLocks noChangeArrowheads="1"/>
          </p:cNvSpPr>
          <p:nvPr/>
        </p:nvSpPr>
        <p:spPr bwMode="auto">
          <a:xfrm>
            <a:off x="1681957" y="215900"/>
            <a:ext cx="7343775" cy="877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89" b="1" i="0" u="none" strike="noStrike" kern="1200" cap="none" spc="0" normalizeH="0" baseline="0" noProof="0" dirty="0">
                <a:ln>
                  <a:noFill/>
                </a:ln>
                <a:solidFill>
                  <a:srgbClr val="808080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пасибо за внимание</a:t>
            </a:r>
          </a:p>
          <a:p>
            <a:pPr marL="0" marR="0" lvl="0" indent="0" algn="ctr" defTabSz="914400" rtl="0" eaLnBrk="0" fontAlgn="base" latinLnBrk="0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89" b="1" i="0" u="none" strike="noStrike" kern="1200" cap="none" spc="0" normalizeH="0" baseline="0" noProof="0" dirty="0">
              <a:ln>
                <a:noFill/>
              </a:ln>
              <a:solidFill>
                <a:srgbClr val="808080">
                  <a:lumMod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562100" y="2592015"/>
            <a:ext cx="7583488" cy="3425825"/>
            <a:chOff x="1562100" y="2592015"/>
            <a:chExt cx="7583488" cy="3425825"/>
          </a:xfrm>
        </p:grpSpPr>
        <p:sp>
          <p:nvSpPr>
            <p:cNvPr id="46083" name="Заголовок 1"/>
            <p:cNvSpPr txBox="1">
              <a:spLocks/>
            </p:cNvSpPr>
            <p:nvPr/>
          </p:nvSpPr>
          <p:spPr bwMode="auto">
            <a:xfrm>
              <a:off x="3336925" y="2592015"/>
              <a:ext cx="4032250" cy="287337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91419" tIns="45709" rIns="91419" bIns="45709" anchor="ctr"/>
            <a:lstStyle>
              <a:lvl1pPr>
                <a:spcBef>
                  <a:spcPct val="20000"/>
                </a:spcBef>
                <a:buClr>
                  <a:srgbClr val="CC0000"/>
                </a:buClr>
                <a:buChar char="•"/>
                <a:defRPr sz="2100">
                  <a:solidFill>
                    <a:schemeClr val="tx1"/>
                  </a:solidFill>
                  <a:latin typeface="Futura PT Demi" pitchFamily="34" charset="0"/>
                </a:defRPr>
              </a:lvl1pPr>
              <a:lvl2pPr marL="742950" indent="-287338">
                <a:spcBef>
                  <a:spcPct val="20000"/>
                </a:spcBef>
                <a:buClr>
                  <a:srgbClr val="CC0000"/>
                </a:buClr>
                <a:buChar char="•"/>
                <a:defRPr sz="1700">
                  <a:solidFill>
                    <a:schemeClr val="tx1"/>
                  </a:solidFill>
                  <a:latin typeface="Futura PT Demi" pitchFamily="34" charset="0"/>
                </a:defRPr>
              </a:lvl2pPr>
              <a:lvl3pPr marL="1144588" indent="-230188">
                <a:spcBef>
                  <a:spcPct val="20000"/>
                </a:spcBef>
                <a:buClr>
                  <a:srgbClr val="CC0000"/>
                </a:buClr>
                <a:buChar char="•"/>
                <a:defRPr sz="1600">
                  <a:solidFill>
                    <a:schemeClr val="tx1"/>
                  </a:solidFill>
                  <a:latin typeface="Futura PT Demi" pitchFamily="34" charset="0"/>
                </a:defRPr>
              </a:lvl3pPr>
              <a:lvl4pPr marL="1600200" indent="-228600">
                <a:spcBef>
                  <a:spcPct val="20000"/>
                </a:spcBef>
                <a:buClr>
                  <a:srgbClr val="CC0000"/>
                </a:buClr>
                <a:buChar char="•"/>
                <a:defRPr sz="1400">
                  <a:solidFill>
                    <a:schemeClr val="tx1"/>
                  </a:solidFill>
                  <a:latin typeface="Futura PT Demi" pitchFamily="34" charset="0"/>
                </a:defRPr>
              </a:lvl4pPr>
              <a:lvl5pPr marL="2055813" indent="-227013">
                <a:spcBef>
                  <a:spcPct val="20000"/>
                </a:spcBef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5pPr>
              <a:lvl6pPr marL="25130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6pPr>
              <a:lvl7pPr marL="29702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7pPr>
              <a:lvl8pPr marL="34274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8pPr>
              <a:lvl9pPr marL="3884613" indent="-2270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rgbClr val="CC0000"/>
                </a:buClr>
                <a:buChar char="•"/>
                <a:defRPr sz="1300">
                  <a:solidFill>
                    <a:schemeClr val="tx1"/>
                  </a:solidFill>
                  <a:latin typeface="Futura PT Demi" pitchFamily="34" charset="0"/>
                </a:defRPr>
              </a:lvl9pPr>
            </a:lstStyle>
            <a:p>
              <a:pPr marL="0" marR="0" lvl="0" indent="0" algn="l" defTabSz="91440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Дополнительная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  <a:r>
                <a:rPr kumimoji="0" lang="ru-RU" altLang="ru-RU" sz="20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информация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1562100" y="2879352"/>
              <a:ext cx="7583488" cy="3138488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ERP.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3"/>
                </a:rPr>
                <a:t>https://v8.1c.ru/cpm-erp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4"/>
                </a:rPr>
                <a:t>https://v8.1c.ru/cpm-erp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5"/>
                </a:rPr>
                <a:t>https://v8.1c.ru/cpm-erp/poleznye-materialy/video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Сайт 1С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: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Управление холдингом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6"/>
                </a:rPr>
                <a:t>https://v8.1c.ru/cpm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Презентации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7"/>
                </a:rPr>
                <a:t>https://v8.1c.ru/cpm/poleznye-materialy/presentations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Видео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8"/>
                </a:rPr>
                <a:t>https://v8.1c.ru/cpm/poleznye-materialy/video/</a:t>
              </a: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 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Наиболее интересные внедрения: 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9"/>
                </a:rPr>
                <a:t>https://v8.1c.ru/cpm/istorii-uspekha/</a:t>
              </a:r>
              <a:endParaRPr kumimoji="0" lang="ru-RU" sz="1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  <a:hlinkClick r:id="rId1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Канал линейки продуктов «1С:Управление холдингом» на </a:t>
              </a:r>
              <a:r>
                <a:rPr kumimoji="0" lang="en-US" sz="1800" b="0" i="0" u="sng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  <a:hlinkClick r:id="rId11"/>
                </a:rPr>
                <a:t>YouTube</a:t>
              </a:r>
              <a:endParaRPr kumimoji="0" lang="ru-RU" sz="1800" b="0" i="0" u="sng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4" name="Группа 3"/>
          <p:cNvGrpSpPr/>
          <p:nvPr/>
        </p:nvGrpSpPr>
        <p:grpSpPr>
          <a:xfrm>
            <a:off x="3934389" y="966212"/>
            <a:ext cx="2838911" cy="1449854"/>
            <a:chOff x="3756544" y="966212"/>
            <a:chExt cx="2838911" cy="1449854"/>
          </a:xfrm>
        </p:grpSpPr>
        <p:sp>
          <p:nvSpPr>
            <p:cNvPr id="2" name="Овал 1"/>
            <p:cNvSpPr/>
            <p:nvPr/>
          </p:nvSpPr>
          <p:spPr bwMode="auto">
            <a:xfrm>
              <a:off x="3756544" y="966212"/>
              <a:ext cx="1392213" cy="1441760"/>
            </a:xfrm>
            <a:prstGeom prst="ellipse">
              <a:avLst/>
            </a:prstGeom>
            <a:solidFill>
              <a:srgbClr val="92D050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6" name="Овал 5"/>
            <p:cNvSpPr/>
            <p:nvPr/>
          </p:nvSpPr>
          <p:spPr bwMode="auto">
            <a:xfrm>
              <a:off x="4464893" y="974306"/>
              <a:ext cx="1392213" cy="1441760"/>
            </a:xfrm>
            <a:prstGeom prst="ellipse">
              <a:avLst/>
            </a:prstGeom>
            <a:solidFill>
              <a:srgbClr val="F3EA28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  <p:sp>
          <p:nvSpPr>
            <p:cNvPr id="7" name="Овал 6"/>
            <p:cNvSpPr/>
            <p:nvPr/>
          </p:nvSpPr>
          <p:spPr bwMode="auto">
            <a:xfrm>
              <a:off x="5203242" y="974306"/>
              <a:ext cx="1392213" cy="1441760"/>
            </a:xfrm>
            <a:prstGeom prst="ellipse">
              <a:avLst/>
            </a:prstGeom>
            <a:solidFill>
              <a:srgbClr val="FC846B">
                <a:alpha val="75000"/>
              </a:srgbClr>
            </a:solidFill>
            <a:ln>
              <a:noFill/>
            </a:ln>
            <a:effectLst/>
          </p:spPr>
          <p:txBody>
            <a:bodyPr vert="horz" wrap="square" lIns="90000" tIns="46800" rIns="90000" bIns="4680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381000" marR="0" indent="-381000" algn="l" defTabSz="914400" rtl="0" eaLnBrk="1" fontAlgn="base" latinLnBrk="0" hangingPunct="1">
                <a:lnSpc>
                  <a:spcPct val="85000"/>
                </a:lnSpc>
                <a:spcBef>
                  <a:spcPct val="50000"/>
                </a:spcBef>
                <a:spcAft>
                  <a:spcPct val="0"/>
                </a:spcAft>
                <a:buClrTx/>
                <a:buSzPct val="120000"/>
                <a:buFontTx/>
                <a:buBlip>
                  <a:blip r:embed="rId12"/>
                </a:buBlip>
                <a:tabLst/>
              </a:pPr>
              <a:endParaRPr kumimoji="0" lang="ru-RU" sz="2100" b="0" i="0" u="none" strike="noStrike" cap="none" normalizeH="0" baseline="0">
                <a:ln>
                  <a:noFill/>
                </a:ln>
                <a:solidFill>
                  <a:srgbClr val="006600"/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748356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89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тролируемые иностранные компании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ru-RU" b="1" dirty="0"/>
              <a:t>Что такое КИК?</a:t>
            </a:r>
          </a:p>
          <a:p>
            <a:r>
              <a:rPr lang="ru-RU" dirty="0"/>
              <a:t>организация, не признаваемая налоговым резидентом Российской Федерации, контролирующим лицом которой являются организация и (или) физическое лицо, признаваемые налоговыми резидентами Российской Федерации, или </a:t>
            </a:r>
          </a:p>
          <a:p>
            <a:r>
              <a:rPr lang="ru-RU" dirty="0"/>
              <a:t>иностранная структура без образования юридического лица (ИСБОЮЛ), контролирующим лицом которой являются организация и (или) физическое лицо, признаваемые налоговыми резидентами Российской Федерации.</a:t>
            </a:r>
          </a:p>
        </p:txBody>
      </p:sp>
    </p:spTree>
    <p:extLst>
      <p:ext uri="{BB962C8B-B14F-4D97-AF65-F5344CB8AC3E}">
        <p14:creationId xmlns:p14="http://schemas.microsoft.com/office/powerpoint/2010/main" val="34571273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466194111"/>
              </p:ext>
            </p:extLst>
          </p:nvPr>
        </p:nvGraphicFramePr>
        <p:xfrm>
          <a:off x="648469" y="679626"/>
          <a:ext cx="10225135" cy="5152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14" name="Рисунок 13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497341" y="2952055"/>
            <a:ext cx="1655395" cy="23683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456781" y="2880047"/>
            <a:ext cx="1705344" cy="23683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977061" y="2880047"/>
            <a:ext cx="1645769" cy="236830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19" name="Заголовок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89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чёт прибыли КИК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57305" y="2945114"/>
            <a:ext cx="3252301" cy="2339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0986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Схема 12"/>
          <p:cNvGraphicFramePr/>
          <p:nvPr>
            <p:extLst>
              <p:ext uri="{D42A27DB-BD31-4B8C-83A1-F6EECF244321}">
                <p14:modId xmlns:p14="http://schemas.microsoft.com/office/powerpoint/2010/main" val="466194111"/>
              </p:ext>
            </p:extLst>
          </p:nvPr>
        </p:nvGraphicFramePr>
        <p:xfrm>
          <a:off x="648469" y="679626"/>
          <a:ext cx="10225135" cy="5152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9" name="Заголовок 1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89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бъекты в системе</a:t>
            </a:r>
          </a:p>
        </p:txBody>
      </p:sp>
      <p:sp>
        <p:nvSpPr>
          <p:cNvPr id="3" name="Скругленный прямоугольник 2"/>
          <p:cNvSpPr/>
          <p:nvPr/>
        </p:nvSpPr>
        <p:spPr bwMode="auto">
          <a:xfrm>
            <a:off x="720477" y="2952055"/>
            <a:ext cx="2448272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BA3A3B"/>
                </a:solidFill>
                <a:effectLst/>
              </a:rPr>
              <a:t>Поступление инвестиций</a:t>
            </a:r>
          </a:p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lang="ru-RU" sz="1400" b="0" dirty="0">
                <a:solidFill>
                  <a:srgbClr val="BA3A3B"/>
                </a:solidFill>
              </a:rPr>
              <a:t>Выбытие инвестиций</a:t>
            </a:r>
            <a:endParaRPr kumimoji="0" lang="ru-RU" sz="1400" b="0" i="0" u="none" strike="noStrike" cap="none" normalizeH="0" baseline="0" dirty="0">
              <a:ln>
                <a:noFill/>
              </a:ln>
              <a:solidFill>
                <a:srgbClr val="BA3A3B"/>
              </a:solidFill>
              <a:effectLst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 bwMode="auto">
          <a:xfrm>
            <a:off x="720477" y="5184303"/>
            <a:ext cx="2448272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BA3A3B"/>
                </a:solidFill>
                <a:effectLst/>
              </a:rPr>
              <a:t>Структура владения</a:t>
            </a:r>
          </a:p>
        </p:txBody>
      </p:sp>
      <p:sp>
        <p:nvSpPr>
          <p:cNvPr id="17" name="Скругленный прямоугольник 16"/>
          <p:cNvSpPr/>
          <p:nvPr/>
        </p:nvSpPr>
        <p:spPr bwMode="auto">
          <a:xfrm>
            <a:off x="3384773" y="2946356"/>
            <a:ext cx="4608512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Реестр уведомлений об иностранных компаниях</a:t>
            </a:r>
            <a:endParaRPr kumimoji="0" lang="ru-RU" sz="1400" b="0" i="0" u="none" strike="noStrike" cap="none" normalizeH="0" baseline="0" dirty="0">
              <a:ln>
                <a:noFill/>
              </a:ln>
              <a:solidFill>
                <a:srgbClr val="BA3A3B"/>
              </a:solidFill>
              <a:effectLst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 bwMode="auto">
          <a:xfrm>
            <a:off x="5941057" y="5256311"/>
            <a:ext cx="1944216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BA3A3B"/>
                </a:solidFill>
                <a:effectLst/>
              </a:rPr>
              <a:t>Статьи налоговых регистров КИК</a:t>
            </a:r>
          </a:p>
        </p:txBody>
      </p:sp>
      <p:sp>
        <p:nvSpPr>
          <p:cNvPr id="20" name="Скругленный прямоугольник 19"/>
          <p:cNvSpPr/>
          <p:nvPr/>
        </p:nvSpPr>
        <p:spPr bwMode="auto">
          <a:xfrm>
            <a:off x="3384773" y="4032175"/>
            <a:ext cx="2304256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BA3A3B"/>
                </a:solidFill>
                <a:effectLst/>
              </a:rPr>
              <a:t>Уведомление об ИО</a:t>
            </a:r>
          </a:p>
        </p:txBody>
      </p:sp>
      <p:sp>
        <p:nvSpPr>
          <p:cNvPr id="22" name="Скругленный прямоугольник 21"/>
          <p:cNvSpPr/>
          <p:nvPr/>
        </p:nvSpPr>
        <p:spPr bwMode="auto">
          <a:xfrm>
            <a:off x="5833045" y="4032175"/>
            <a:ext cx="2160240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BA3A3B"/>
                </a:solidFill>
                <a:effectLst/>
              </a:rPr>
              <a:t>Уведомление о КИК</a:t>
            </a:r>
          </a:p>
        </p:txBody>
      </p:sp>
      <p:sp>
        <p:nvSpPr>
          <p:cNvPr id="23" name="Скругленный прямоугольник 22"/>
          <p:cNvSpPr/>
          <p:nvPr/>
        </p:nvSpPr>
        <p:spPr bwMode="auto">
          <a:xfrm>
            <a:off x="8137301" y="4032175"/>
            <a:ext cx="2520280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BA3A3B"/>
                </a:solidFill>
                <a:effectLst/>
              </a:rPr>
              <a:t>Налоговая декларация по НП и 3НДФЛ</a:t>
            </a:r>
          </a:p>
        </p:txBody>
      </p:sp>
      <p:sp>
        <p:nvSpPr>
          <p:cNvPr id="24" name="Скругленный прямоугольник 23"/>
          <p:cNvSpPr/>
          <p:nvPr/>
        </p:nvSpPr>
        <p:spPr bwMode="auto">
          <a:xfrm>
            <a:off x="5761037" y="5112294"/>
            <a:ext cx="4951491" cy="1080121"/>
          </a:xfrm>
          <a:prstGeom prst="roundRect">
            <a:avLst/>
          </a:prstGeom>
          <a:noFill/>
          <a:ln>
            <a:solidFill>
              <a:srgbClr val="BA3A3B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endParaRPr kumimoji="0" lang="ru-RU" sz="1400" b="0" i="0" u="none" strike="noStrike" cap="none" normalizeH="0" baseline="0" dirty="0">
              <a:ln>
                <a:noFill/>
              </a:ln>
              <a:solidFill>
                <a:srgbClr val="BA3A3B"/>
              </a:solidFill>
              <a:effectLst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 bwMode="auto">
          <a:xfrm>
            <a:off x="8137301" y="5256311"/>
            <a:ext cx="2376264" cy="792088"/>
          </a:xfrm>
          <a:prstGeom prst="roundRect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algn="ctr" defTabSz="914400" rtl="0" eaLnBrk="1" fontAlgn="base" latinLnBrk="0" hangingPunct="1">
              <a:lnSpc>
                <a:spcPct val="85000"/>
              </a:lnSpc>
              <a:spcBef>
                <a:spcPct val="50000"/>
              </a:spcBef>
              <a:spcAft>
                <a:spcPct val="0"/>
              </a:spcAft>
              <a:buClrTx/>
              <a:buSzPct val="120000"/>
              <a:tabLst/>
            </a:pPr>
            <a:r>
              <a:rPr kumimoji="0" lang="ru-RU" sz="1400" b="0" i="0" u="none" strike="noStrike" cap="none" normalizeH="0" baseline="0" dirty="0">
                <a:ln>
                  <a:noFill/>
                </a:ln>
                <a:solidFill>
                  <a:srgbClr val="BA3A3B"/>
                </a:solidFill>
                <a:effectLst/>
              </a:rPr>
              <a:t>Сводный аналитический регистр</a:t>
            </a:r>
          </a:p>
        </p:txBody>
      </p:sp>
      <p:cxnSp>
        <p:nvCxnSpPr>
          <p:cNvPr id="26" name="Соединительная линия уступом 25"/>
          <p:cNvCxnSpPr>
            <a:endCxn id="12" idx="0"/>
          </p:cNvCxnSpPr>
          <p:nvPr/>
        </p:nvCxnSpPr>
        <p:spPr bwMode="auto">
          <a:xfrm flipH="1">
            <a:off x="1944613" y="3744793"/>
            <a:ext cx="6353" cy="143951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28" name="Соединительная линия уступом 25"/>
          <p:cNvCxnSpPr>
            <a:stCxn id="3" idx="3"/>
            <a:endCxn id="17" idx="1"/>
          </p:cNvCxnSpPr>
          <p:nvPr/>
        </p:nvCxnSpPr>
        <p:spPr bwMode="auto">
          <a:xfrm flipV="1">
            <a:off x="3168749" y="3342400"/>
            <a:ext cx="216024" cy="5699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1" name="Соединительная линия уступом 25"/>
          <p:cNvCxnSpPr>
            <a:endCxn id="20" idx="0"/>
          </p:cNvCxnSpPr>
          <p:nvPr/>
        </p:nvCxnSpPr>
        <p:spPr bwMode="auto">
          <a:xfrm>
            <a:off x="4536901" y="3738444"/>
            <a:ext cx="0" cy="293731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4" name="Соединительная линия уступом 25"/>
          <p:cNvCxnSpPr/>
          <p:nvPr/>
        </p:nvCxnSpPr>
        <p:spPr bwMode="auto">
          <a:xfrm>
            <a:off x="6913165" y="3738444"/>
            <a:ext cx="0" cy="293731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5" name="Соединительная линия уступом 25"/>
          <p:cNvCxnSpPr/>
          <p:nvPr/>
        </p:nvCxnSpPr>
        <p:spPr bwMode="auto">
          <a:xfrm flipH="1" flipV="1">
            <a:off x="6913165" y="4824263"/>
            <a:ext cx="3548" cy="288032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7" name="Соединительная линия уступом 25"/>
          <p:cNvCxnSpPr/>
          <p:nvPr/>
        </p:nvCxnSpPr>
        <p:spPr bwMode="auto">
          <a:xfrm flipH="1" flipV="1">
            <a:off x="9433445" y="4824261"/>
            <a:ext cx="3548" cy="288032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38" name="Соединительная линия уступом 25"/>
          <p:cNvCxnSpPr/>
          <p:nvPr/>
        </p:nvCxnSpPr>
        <p:spPr bwMode="auto">
          <a:xfrm flipV="1">
            <a:off x="7903275" y="5652354"/>
            <a:ext cx="216024" cy="5699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5714456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89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ступление и выбытие инвестиций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413" y="1655911"/>
            <a:ext cx="4519984" cy="27631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2765" y="3456111"/>
            <a:ext cx="3714749" cy="147161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21077" y="2952055"/>
            <a:ext cx="5194752" cy="271359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8" name="Скругленная прямоугольная выноска 7"/>
          <p:cNvSpPr/>
          <p:nvPr/>
        </p:nvSpPr>
        <p:spPr bwMode="auto">
          <a:xfrm>
            <a:off x="5328989" y="1439887"/>
            <a:ext cx="3456384" cy="1368152"/>
          </a:xfrm>
          <a:prstGeom prst="wedgeRoundRectCallout">
            <a:avLst>
              <a:gd name="adj1" fmla="val -72676"/>
              <a:gd name="adj2" fmla="val 38213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Документы поступления и выбытия инвестиций могут делать движения по одному или сразу двум сценариям</a:t>
            </a:r>
          </a:p>
        </p:txBody>
      </p:sp>
      <p:sp>
        <p:nvSpPr>
          <p:cNvPr id="9" name="Скругленная прямоугольная выноска 8"/>
          <p:cNvSpPr/>
          <p:nvPr/>
        </p:nvSpPr>
        <p:spPr bwMode="auto">
          <a:xfrm>
            <a:off x="2016621" y="4747703"/>
            <a:ext cx="3456384" cy="1368152"/>
          </a:xfrm>
          <a:prstGeom prst="wedgeRoundRectCallout">
            <a:avLst>
              <a:gd name="adj1" fmla="val 31411"/>
              <a:gd name="adj2" fmla="val -76283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Проведение по сценариям можно усложнить или упростить в зависимости от сложности учёта у заказчика</a:t>
            </a:r>
          </a:p>
        </p:txBody>
      </p:sp>
    </p:spTree>
    <p:extLst>
      <p:ext uri="{BB962C8B-B14F-4D97-AF65-F5344CB8AC3E}">
        <p14:creationId xmlns:p14="http://schemas.microsoft.com/office/powerpoint/2010/main" val="31042887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89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уктура владения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445" y="2375991"/>
            <a:ext cx="4200778" cy="353206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312765" y="2808039"/>
            <a:ext cx="4011365" cy="336645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25025" y="1871935"/>
            <a:ext cx="4081138" cy="355233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Скругленная прямоугольная выноска 8"/>
          <p:cNvSpPr/>
          <p:nvPr/>
        </p:nvSpPr>
        <p:spPr bwMode="auto">
          <a:xfrm>
            <a:off x="1368549" y="1238133"/>
            <a:ext cx="3456384" cy="878545"/>
          </a:xfrm>
          <a:prstGeom prst="wedgeRoundRectCallout">
            <a:avLst>
              <a:gd name="adj1" fmla="val 18912"/>
              <a:gd name="adj2" fmla="val 113340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Структура владения может не только отображать структуру группы в графическом виде и в виде таблицы, но и….</a:t>
            </a:r>
          </a:p>
        </p:txBody>
      </p:sp>
      <p:sp>
        <p:nvSpPr>
          <p:cNvPr id="10" name="Скругленная прямоугольная выноска 9"/>
          <p:cNvSpPr/>
          <p:nvPr/>
        </p:nvSpPr>
        <p:spPr bwMode="auto">
          <a:xfrm>
            <a:off x="7633245" y="5572542"/>
            <a:ext cx="3456384" cy="691882"/>
          </a:xfrm>
          <a:prstGeom prst="wedgeRoundRectCallout">
            <a:avLst>
              <a:gd name="adj1" fmla="val 25995"/>
              <a:gd name="adj2" fmla="val -143995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… с его помощью можно осуществлять моделирование инвестиций</a:t>
            </a:r>
          </a:p>
        </p:txBody>
      </p:sp>
    </p:spTree>
    <p:extLst>
      <p:ext uri="{BB962C8B-B14F-4D97-AF65-F5344CB8AC3E}">
        <p14:creationId xmlns:p14="http://schemas.microsoft.com/office/powerpoint/2010/main" val="8450563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89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естр уведомлений об иностранных компаниях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445" y="2087959"/>
            <a:ext cx="5472608" cy="388634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202612" y="2415702"/>
            <a:ext cx="4003551" cy="323085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6" name="Стрелка вправо 5"/>
          <p:cNvSpPr/>
          <p:nvPr/>
        </p:nvSpPr>
        <p:spPr bwMode="auto">
          <a:xfrm>
            <a:off x="5905053" y="3888159"/>
            <a:ext cx="1297559" cy="551523"/>
          </a:xfrm>
          <a:prstGeom prst="rightArrow">
            <a:avLst/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endParaRPr lang="ru-RU" sz="1400" b="0">
              <a:solidFill>
                <a:srgbClr val="BA3A3B"/>
              </a:solidFill>
            </a:endParaRPr>
          </a:p>
        </p:txBody>
      </p:sp>
      <p:sp>
        <p:nvSpPr>
          <p:cNvPr id="7" name="Скругленная прямоугольная выноска 6"/>
          <p:cNvSpPr/>
          <p:nvPr/>
        </p:nvSpPr>
        <p:spPr bwMode="auto">
          <a:xfrm>
            <a:off x="1584573" y="5060118"/>
            <a:ext cx="3456384" cy="878545"/>
          </a:xfrm>
          <a:prstGeom prst="wedgeRoundRectCallout">
            <a:avLst>
              <a:gd name="adj1" fmla="val -40665"/>
              <a:gd name="adj2" fmla="val -111213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Реестр позволяет отследить когда и какие уведомления нужно подать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9445" y="4810596"/>
            <a:ext cx="3368056" cy="60992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9" name="Скругленная прямоугольная выноска 8"/>
          <p:cNvSpPr/>
          <p:nvPr/>
        </p:nvSpPr>
        <p:spPr bwMode="auto">
          <a:xfrm>
            <a:off x="8425333" y="5599315"/>
            <a:ext cx="2691778" cy="678695"/>
          </a:xfrm>
          <a:prstGeom prst="wedgeRoundRectCallout">
            <a:avLst>
              <a:gd name="adj1" fmla="val -39595"/>
              <a:gd name="adj2" fmla="val -85752"/>
              <a:gd name="adj3" fmla="val 16667"/>
            </a:avLst>
          </a:prstGeom>
          <a:solidFill>
            <a:srgbClr val="F9E383">
              <a:alpha val="75000"/>
            </a:srgbClr>
          </a:solidFill>
          <a:ln>
            <a:solidFill>
              <a:srgbClr val="FFC000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r>
              <a:rPr lang="ru-RU" sz="1400" b="0" dirty="0">
                <a:solidFill>
                  <a:srgbClr val="BA3A3B"/>
                </a:solidFill>
              </a:rPr>
              <a:t>Механизм автоматического заполнения можно отключить</a:t>
            </a:r>
          </a:p>
        </p:txBody>
      </p:sp>
    </p:spTree>
    <p:extLst>
      <p:ext uri="{BB962C8B-B14F-4D97-AF65-F5344CB8AC3E}">
        <p14:creationId xmlns:p14="http://schemas.microsoft.com/office/powerpoint/2010/main" val="19505082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89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атьи налоговых регистров КИК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405" y="1439887"/>
            <a:ext cx="4646299" cy="344365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12565" y="2664023"/>
            <a:ext cx="4392488" cy="355738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165635" y="1871935"/>
            <a:ext cx="4532059" cy="3549203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17221" y="3235445"/>
            <a:ext cx="3959860" cy="296448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10" name="Прямая со стрелкой 9"/>
          <p:cNvCxnSpPr/>
          <p:nvPr/>
        </p:nvCxnSpPr>
        <p:spPr bwMode="auto">
          <a:xfrm flipH="1">
            <a:off x="5833045" y="4968280"/>
            <a:ext cx="4592275" cy="72007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arrow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12" name="Скругленный прямоугольник 11"/>
          <p:cNvSpPr/>
          <p:nvPr/>
        </p:nvSpPr>
        <p:spPr bwMode="auto">
          <a:xfrm>
            <a:off x="1368549" y="4442717"/>
            <a:ext cx="4464496" cy="1173634"/>
          </a:xfrm>
          <a:prstGeom prst="roundRect">
            <a:avLst/>
          </a:prstGeom>
          <a:noFill/>
          <a:ln w="25400">
            <a:solidFill>
              <a:srgbClr val="BA3A3B"/>
            </a:solidFill>
          </a:ln>
          <a:effectLst/>
        </p:spPr>
        <p:txBody>
          <a:bodyPr vert="horz" wrap="square" lIns="90000" tIns="46800" rIns="90000" bIns="468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eaLnBrk="1" hangingPunct="1">
              <a:lnSpc>
                <a:spcPct val="85000"/>
              </a:lnSpc>
              <a:spcBef>
                <a:spcPct val="50000"/>
              </a:spcBef>
              <a:buSzPct val="120000"/>
            </a:pPr>
            <a:endParaRPr lang="ru-RU" sz="1400" b="0">
              <a:solidFill>
                <a:srgbClr val="BA3A3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67118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89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хема процесса</a:t>
            </a:r>
          </a:p>
        </p:txBody>
      </p:sp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3920996199"/>
              </p:ext>
            </p:extLst>
          </p:nvPr>
        </p:nvGraphicFramePr>
        <p:xfrm>
          <a:off x="648469" y="679626"/>
          <a:ext cx="10225135" cy="51527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64493" y="1583903"/>
            <a:ext cx="1943112" cy="144016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240757" y="1439887"/>
            <a:ext cx="2100287" cy="167971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584573" y="4392215"/>
            <a:ext cx="2880320" cy="164288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775262" y="1546610"/>
            <a:ext cx="1926343" cy="150858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417221" y="4427485"/>
            <a:ext cx="2857162" cy="162689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869258" y="4608239"/>
            <a:ext cx="2318499" cy="173570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cxnSp>
        <p:nvCxnSpPr>
          <p:cNvPr id="13" name="Соединительная линия уступом 25"/>
          <p:cNvCxnSpPr/>
          <p:nvPr/>
        </p:nvCxnSpPr>
        <p:spPr bwMode="auto">
          <a:xfrm flipH="1" flipV="1">
            <a:off x="2088629" y="4104183"/>
            <a:ext cx="3548" cy="288032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4" name="Соединительная линия уступом 25"/>
          <p:cNvCxnSpPr/>
          <p:nvPr/>
        </p:nvCxnSpPr>
        <p:spPr bwMode="auto">
          <a:xfrm flipH="1" flipV="1">
            <a:off x="4032845" y="4095649"/>
            <a:ext cx="3548" cy="288032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5" name="Соединительная линия уступом 25"/>
          <p:cNvCxnSpPr/>
          <p:nvPr/>
        </p:nvCxnSpPr>
        <p:spPr bwMode="auto">
          <a:xfrm>
            <a:off x="6759575" y="2952055"/>
            <a:ext cx="17594" cy="36004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7" name="Соединительная линия уступом 25"/>
          <p:cNvCxnSpPr/>
          <p:nvPr/>
        </p:nvCxnSpPr>
        <p:spPr bwMode="auto">
          <a:xfrm>
            <a:off x="4208542" y="2982787"/>
            <a:ext cx="17594" cy="36004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8" name="Соединительная линия уступом 25"/>
          <p:cNvCxnSpPr/>
          <p:nvPr/>
        </p:nvCxnSpPr>
        <p:spPr bwMode="auto">
          <a:xfrm>
            <a:off x="1827252" y="2982787"/>
            <a:ext cx="17594" cy="36004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cxnSp>
        <p:nvCxnSpPr>
          <p:cNvPr id="19" name="Соединительная линия уступом 25"/>
          <p:cNvCxnSpPr/>
          <p:nvPr/>
        </p:nvCxnSpPr>
        <p:spPr bwMode="auto">
          <a:xfrm>
            <a:off x="9433445" y="4137914"/>
            <a:ext cx="17594" cy="360040"/>
          </a:xfrm>
          <a:prstGeom prst="straightConnector1">
            <a:avLst/>
          </a:prstGeom>
          <a:solidFill>
            <a:srgbClr val="00FF00">
              <a:alpha val="75000"/>
            </a:srgbClr>
          </a:solidFill>
          <a:ln w="28575" cap="flat" cmpd="sng" algn="ctr">
            <a:solidFill>
              <a:srgbClr val="BA3A3B"/>
            </a:solidFill>
            <a:prstDash val="solid"/>
            <a:round/>
            <a:headEnd type="none" w="med" len="med"/>
            <a:tailEnd type="arrow" w="lg" len="lg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39418571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3_Специальное оформление">
  <a:themeElements>
    <a:clrScheme name="3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3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3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3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9731A046-F01E-489C-9505-35C076B74223}"/>
    </a:ext>
  </a:extLst>
</a:theme>
</file>

<file path=ppt/theme/theme2.xml><?xml version="1.0" encoding="utf-8"?>
<a:theme xmlns:a="http://schemas.openxmlformats.org/drawingml/2006/main" name="4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64CA2CBB-2ED5-495B-9C53-C423713E49C6}"/>
    </a:ext>
  </a:extLst>
</a:theme>
</file>

<file path=ppt/theme/theme3.xml><?xml version="1.0" encoding="utf-8"?>
<a:theme xmlns:a="http://schemas.openxmlformats.org/drawingml/2006/main" name="5_Специальное оформление">
  <a:themeElements>
    <a:clrScheme name="4_Специальное оформление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Специальное оформление">
      <a:majorFont>
        <a:latin typeface="Futura PT Demi"/>
        <a:ea typeface=""/>
        <a:cs typeface=""/>
      </a:majorFont>
      <a:minorFont>
        <a:latin typeface="Futura PT Dem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FF00">
            <a:alpha val="75000"/>
          </a:srgbClr>
        </a:solidFill>
        <a:ln>
          <a:noFill/>
        </a:ln>
        <a:effectLst/>
        <a:extLst>
          <a:ext uri="{91240B29-F687-4F45-9708-019B960494DF}">
            <a14:hiddenLine xmlns:a14="http://schemas.microsoft.com/office/drawing/2010/main" w="28575" cap="flat" cmpd="sng" algn="ctr">
              <a:solidFill>
                <a:srgbClr val="000000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square" lIns="90000" tIns="46800" rIns="90000" bIns="46800" numCol="1" anchor="t" anchorCtr="0" compatLnSpc="1">
        <a:prstTxWarp prst="textNoShape">
          <a:avLst/>
        </a:prstTxWarp>
        <a:spAutoFit/>
      </a:bodyPr>
      <a:lstStyle>
        <a:defPPr marL="381000" marR="0" indent="-381000" algn="l" defTabSz="914400" rtl="0" eaLnBrk="1" fontAlgn="base" latinLnBrk="0" hangingPunct="1">
          <a:lnSpc>
            <a:spcPct val="85000"/>
          </a:lnSpc>
          <a:spcBef>
            <a:spcPct val="50000"/>
          </a:spcBef>
          <a:spcAft>
            <a:spcPct val="0"/>
          </a:spcAft>
          <a:buClrTx/>
          <a:buSzPct val="120000"/>
          <a:buFontTx/>
          <a:buBlip>
            <a:blip xmlns:r="http://schemas.openxmlformats.org/officeDocument/2006/relationships" r:embed="rId1"/>
          </a:buBlip>
          <a:tabLst/>
          <a:defRPr kumimoji="0" lang="en-US" altLang="ru-RU" sz="2100" b="0" i="0" u="none" strike="noStrike" cap="none" normalizeH="0" baseline="0" smtClean="0">
            <a:ln>
              <a:noFill/>
            </a:ln>
            <a:solidFill>
              <a:srgbClr val="006600"/>
            </a:solidFill>
            <a:effectLst/>
            <a:latin typeface="Arial" panose="020B0604020202020204" pitchFamily="34" charset="0"/>
          </a:defRPr>
        </a:defPPr>
      </a:lstStyle>
    </a:lnDef>
  </a:objectDefaults>
  <a:extraClrSchemeLst>
    <a:extraClrScheme>
      <a:clrScheme name="4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5B528353-BE67-4454-8AF4-131AC67AC326}"/>
    </a:ext>
  </a:extLst>
</a:theme>
</file>

<file path=ppt/theme/theme4.xml><?xml version="1.0" encoding="utf-8"?>
<a:theme xmlns:a="http://schemas.openxmlformats.org/drawingml/2006/main" name="4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D3779D9C-2286-42E9-AE2D-79F6B935236F}"/>
    </a:ext>
  </a:extLst>
</a:theme>
</file>

<file path=ppt/theme/theme5.xml><?xml version="1.0" encoding="utf-8"?>
<a:theme xmlns:a="http://schemas.openxmlformats.org/drawingml/2006/main" name="5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564425A3-9686-4A78-9DF9-1517B0559B21}"/>
    </a:ext>
  </a:extLst>
</a:theme>
</file>

<file path=ppt/theme/theme6.xml><?xml version="1.0" encoding="utf-8"?>
<a:theme xmlns:a="http://schemas.openxmlformats.org/drawingml/2006/main" name="6_Оформление по умолчанию">
  <a:themeElements>
    <a:clrScheme name="Оформление по умолчанию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Оформление по умолчанию">
      <a:majorFont>
        <a:latin typeface="Proxima Nova Lt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>
    <a:extraClrScheme>
      <a:clrScheme name="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Оформление по умолчанию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Оформление по умолчанию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Шаблон2021.pptx" id="{9373F19A-905F-4DC4-90AF-1C2E0DFAC09A}" vid="{49163328-4CF0-4CAE-9C0E-37B6B1EF0B77}"/>
    </a:ext>
  </a:extLst>
</a:theme>
</file>

<file path=ppt/theme/theme7.xml><?xml version="1.0" encoding="utf-8"?>
<a:theme xmlns:a="http://schemas.openxmlformats.org/drawingml/2006/main" name="1_1409_Шаблон">
  <a:themeElements>
    <a:clrScheme name="1409_Шаблон 1">
      <a:dk1>
        <a:srgbClr val="5F0000"/>
      </a:dk1>
      <a:lt1>
        <a:srgbClr val="FFFFFF"/>
      </a:lt1>
      <a:dk2>
        <a:srgbClr val="CC3300"/>
      </a:dk2>
      <a:lt2>
        <a:srgbClr val="808080"/>
      </a:lt2>
      <a:accent1>
        <a:srgbClr val="F9E383"/>
      </a:accent1>
      <a:accent2>
        <a:srgbClr val="369900"/>
      </a:accent2>
      <a:accent3>
        <a:srgbClr val="FFFFFF"/>
      </a:accent3>
      <a:accent4>
        <a:srgbClr val="500000"/>
      </a:accent4>
      <a:accent5>
        <a:srgbClr val="FBEFC1"/>
      </a:accent5>
      <a:accent6>
        <a:srgbClr val="308A00"/>
      </a:accent6>
      <a:hlink>
        <a:srgbClr val="0033CC"/>
      </a:hlink>
      <a:folHlink>
        <a:srgbClr val="CC3300"/>
      </a:folHlink>
    </a:clrScheme>
    <a:fontScheme name="1409_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9E383">
            <a:alpha val="50000"/>
          </a:srgbClr>
        </a:solidFill>
        <a:ln w="44450" cap="flat" cmpd="sng" algn="ctr">
          <a:solidFill>
            <a:srgbClr val="CC3300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1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09_Шаблон 1">
        <a:dk1>
          <a:srgbClr val="5F0000"/>
        </a:dk1>
        <a:lt1>
          <a:srgbClr val="FFFFFF"/>
        </a:lt1>
        <a:dk2>
          <a:srgbClr val="CC3300"/>
        </a:dk2>
        <a:lt2>
          <a:srgbClr val="808080"/>
        </a:lt2>
        <a:accent1>
          <a:srgbClr val="F9E383"/>
        </a:accent1>
        <a:accent2>
          <a:srgbClr val="369900"/>
        </a:accent2>
        <a:accent3>
          <a:srgbClr val="FFFFFF"/>
        </a:accent3>
        <a:accent4>
          <a:srgbClr val="500000"/>
        </a:accent4>
        <a:accent5>
          <a:srgbClr val="FBEFC1"/>
        </a:accent5>
        <a:accent6>
          <a:srgbClr val="308A00"/>
        </a:accent6>
        <a:hlink>
          <a:srgbClr val="0033CC"/>
        </a:hlink>
        <a:folHlink>
          <a:srgbClr val="CC33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969696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2021</Template>
  <TotalTime>65426</TotalTime>
  <Words>1530</Words>
  <Application>Microsoft Macintosh PowerPoint</Application>
  <PresentationFormat>Произвольный</PresentationFormat>
  <Paragraphs>121</Paragraphs>
  <Slides>14</Slides>
  <Notes>1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7" baseType="lpstr">
      <vt:lpstr>Proxima Nova Lt</vt:lpstr>
      <vt:lpstr>Arial</vt:lpstr>
      <vt:lpstr>Futura PT Demi</vt:lpstr>
      <vt:lpstr>Times New Roman</vt:lpstr>
      <vt:lpstr>Wingdings</vt:lpstr>
      <vt:lpstr>3_Специальное оформление</vt:lpstr>
      <vt:lpstr>4_Специальное оформление</vt:lpstr>
      <vt:lpstr>5_Специальное оформление</vt:lpstr>
      <vt:lpstr>4_Оформление по умолчанию</vt:lpstr>
      <vt:lpstr>5_Оформление по умолчанию</vt:lpstr>
      <vt:lpstr>6_Оформление по умолчанию</vt:lpstr>
      <vt:lpstr>1_1409_Шаблон</vt:lpstr>
      <vt:lpstr>think-cell Slide</vt:lpstr>
      <vt:lpstr>Учёт и отчётность КИК и международных групп компаний.</vt:lpstr>
      <vt:lpstr>Контролируемые иностранные компании</vt:lpstr>
      <vt:lpstr>Учёт прибыли КИК</vt:lpstr>
      <vt:lpstr>Объекты в системе</vt:lpstr>
      <vt:lpstr>Поступление и выбытие инвестиций</vt:lpstr>
      <vt:lpstr>Структура владения</vt:lpstr>
      <vt:lpstr>Реестр уведомлений об иностранных компаниях</vt:lpstr>
      <vt:lpstr>Статьи налоговых регистров КИК</vt:lpstr>
      <vt:lpstr>Схема процесса</vt:lpstr>
      <vt:lpstr>Оценка рисков международной группы компаний по методике BEPS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улачатов Алексей Викторович</dc:creator>
  <cp:lastModifiedBy>Станислав Митрохин</cp:lastModifiedBy>
  <cp:revision>77</cp:revision>
  <cp:lastPrinted>2021-10-29T12:35:03Z</cp:lastPrinted>
  <dcterms:created xsi:type="dcterms:W3CDTF">2021-02-09T09:39:16Z</dcterms:created>
  <dcterms:modified xsi:type="dcterms:W3CDTF">2022-06-29T10:18:02Z</dcterms:modified>
</cp:coreProperties>
</file>